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891" r:id="rId1"/>
  </p:sldMasterIdLst>
  <p:notesMasterIdLst>
    <p:notesMasterId r:id="rId11"/>
  </p:notesMasterIdLst>
  <p:handoutMasterIdLst>
    <p:handoutMasterId r:id="rId12"/>
  </p:handoutMasterIdLst>
  <p:sldIdLst>
    <p:sldId id="2146847048" r:id="rId2"/>
    <p:sldId id="2146847064" r:id="rId3"/>
    <p:sldId id="2146847070" r:id="rId4"/>
    <p:sldId id="2146846795" r:id="rId5"/>
    <p:sldId id="2146847069" r:id="rId6"/>
    <p:sldId id="2146847078" r:id="rId7"/>
    <p:sldId id="2146847089" r:id="rId8"/>
    <p:sldId id="2146847054" r:id="rId9"/>
    <p:sldId id="2146847063" r:id="rId10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13"/>
      <p:bold r:id="rId14"/>
      <p:italic r:id="rId15"/>
      <p:boldItalic r:id="rId16"/>
    </p:embeddedFont>
    <p:embeddedFont>
      <p:font typeface="IBM Plex Sans" panose="020B0503050203000203" pitchFamily="34" charset="0"/>
      <p:regular r:id="rId17"/>
      <p:bold r:id="rId18"/>
      <p:italic r:id="rId19"/>
      <p:boldItalic r:id="rId20"/>
    </p:embeddedFont>
    <p:embeddedFont>
      <p:font typeface="IBM Plex Sans Light" panose="020B0403050203000203" pitchFamily="34" charset="0"/>
      <p:regular r:id="rId21"/>
      <p:italic r:id="rId22"/>
    </p:embeddedFont>
  </p:embeddedFontLst>
  <p:defaultTextStyle>
    <a:defPPr>
      <a:defRPr lang="en-US"/>
    </a:defPPr>
    <a:lvl1pPr marL="0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91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983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974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966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957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949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940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932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achary Anderson" initials="ZA" lastIdx="26" clrIdx="0">
    <p:extLst>
      <p:ext uri="{19B8F6BF-5375-455C-9EA6-DF929625EA0E}">
        <p15:presenceInfo xmlns:p15="http://schemas.microsoft.com/office/powerpoint/2012/main" userId="S::zanderson@vsapartners.com::b6da4b55-2f36-4779-ba8b-606d779a32e3" providerId="AD"/>
      </p:ext>
    </p:extLst>
  </p:cmAuthor>
  <p:cmAuthor id="2" name="Liz Sadler" initials="LS" lastIdx="36" clrIdx="1">
    <p:extLst>
      <p:ext uri="{19B8F6BF-5375-455C-9EA6-DF929625EA0E}">
        <p15:presenceInfo xmlns:p15="http://schemas.microsoft.com/office/powerpoint/2012/main" userId="Liz Sadl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367"/>
    <p:restoredTop sz="93817"/>
  </p:normalViewPr>
  <p:slideViewPr>
    <p:cSldViewPr snapToGrid="0" snapToObjects="1">
      <p:cViewPr varScale="1">
        <p:scale>
          <a:sx n="205" d="100"/>
          <a:sy n="205" d="100"/>
        </p:scale>
        <p:origin x="792" y="184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2317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3872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font" Target="fonts/font9.fntdata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font" Target="fonts/font5.fntdata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font" Target="fonts/font4.fntdata"/><Relationship Id="rId20" Type="http://schemas.openxmlformats.org/officeDocument/2006/relationships/font" Target="fonts/font8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font" Target="fonts/font3.fntdata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font" Target="fonts/font7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2.fntdata"/><Relationship Id="rId22" Type="http://schemas.openxmlformats.org/officeDocument/2006/relationships/font" Target="fonts/font10.fntdata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21945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pPr algn="l"/>
            <a:fld id="{614B4878-71CB-8F40-B9DD-F26F1F6CA014}" type="slidenum">
              <a:rPr lang="en-US" sz="600" smtClean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pPr algn="l"/>
              <a:t>‹#›</a:t>
            </a:fld>
            <a:endParaRPr lang="en-US" sz="600" dirty="0">
              <a:solidFill>
                <a:schemeClr val="bg1"/>
              </a:solidFill>
              <a:latin typeface="IBM Plex Sans Light" panose="020B0503050203000203" pitchFamily="34" charset="0"/>
              <a:ea typeface="IBM Plex Sans Light" charset="0"/>
              <a:cs typeface="IBM Plex Sans Light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63093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r>
              <a:rPr lang="en-US" sz="600" dirty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t>Group Name / DOC ID / Month XX, 2022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4802781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822450" y="228600"/>
            <a:ext cx="3213100" cy="180736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8" name="Notes Placeholder 7">
            <a:extLst>
              <a:ext uri="{FF2B5EF4-FFF2-40B4-BE49-F238E27FC236}">
                <a16:creationId xmlns:a16="http://schemas.microsoft.com/office/drawing/2014/main" id="{6ABF5568-9620-E34F-9423-054ABD0598F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219456" y="2247900"/>
            <a:ext cx="6419088" cy="61595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803275" marR="0" lvl="4" indent="-1714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IBM Plex Sans Light" charset="-120"/>
              <a:buChar char="»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503050203000203" pitchFamily="34" charset="0"/>
                <a:ea typeface="+mn-ea"/>
                <a:cs typeface="+mn-cs"/>
              </a:rPr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1945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fld id="{6E2E38B8-B0B4-AD41-AC6E-B781F46A9FD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63093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r>
              <a:rPr lang="en-US" dirty="0"/>
              <a:t>Group Name / DOC ID / Month XX, 2022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79159858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spcBef>
        <a:spcPts val="600"/>
      </a:spcBef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1pPr>
    <a:lvl2pPr marL="174625" indent="-169863" algn="l" defTabSz="914400" rtl="0" eaLnBrk="1" latinLnBrk="0" hangingPunct="1">
      <a:spcBef>
        <a:spcPts val="600"/>
      </a:spcBef>
      <a:buFont typeface="IBM Plex Sans"/>
      <a:buChar char="–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2pPr>
    <a:lvl3pPr marL="347472" indent="-173736" algn="l" defTabSz="914400" rtl="0" eaLnBrk="1" latinLnBrk="0" hangingPunct="1">
      <a:spcBef>
        <a:spcPts val="600"/>
      </a:spcBef>
      <a:buFont typeface="IBM Plex Sans Light" panose="020B0604020202020204" pitchFamily="34" charset="0"/>
      <a:buChar char="•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3pPr>
    <a:lvl4pPr marL="630936" indent="-173736" algn="l" defTabSz="914400" rtl="0" eaLnBrk="1" latinLnBrk="0" hangingPunct="1">
      <a:spcBef>
        <a:spcPts val="600"/>
      </a:spcBef>
      <a:buFont typeface="IBM Plex Sans Light"/>
      <a:buChar char="–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4pPr>
    <a:lvl5pPr marL="174625" marR="0" indent="-169863" algn="l" defTabSz="914400" rtl="0" eaLnBrk="1" fontAlgn="base" latinLnBrk="0" hangingPunct="1">
      <a:lnSpc>
        <a:spcPct val="100000"/>
      </a:lnSpc>
      <a:spcBef>
        <a:spcPts val="600"/>
      </a:spcBef>
      <a:spcAft>
        <a:spcPct val="0"/>
      </a:spcAft>
      <a:buClr>
        <a:srgbClr val="000000"/>
      </a:buClr>
      <a:buSzTx/>
      <a:buFont typeface="IBM Plex Sans Light" charset="-120"/>
      <a:buChar char="»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4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A23C2C-3334-4B4F-92AB-A790C33FFE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4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65931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61638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4204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4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A23C2C-3334-4B4F-92AB-A790C33FFE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4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06697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7167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4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A23C2C-3334-4B4F-92AB-A790C33FFE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4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06697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5047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00742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01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791456" y="1243584"/>
            <a:ext cx="4123944" cy="3252216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3906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9456" y="219456"/>
            <a:ext cx="4133088" cy="804672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37160" y="1133856"/>
            <a:ext cx="4206240" cy="3361944"/>
          </a:xfrm>
        </p:spPr>
        <p:txBody>
          <a:bodyPr/>
          <a:lstStyle>
            <a:lvl1pPr>
              <a:lnSpc>
                <a:spcPct val="90000"/>
              </a:lnSpc>
              <a:defRPr sz="9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26051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9456" y="219456"/>
            <a:ext cx="4133088" cy="804672"/>
          </a:xfrm>
        </p:spPr>
        <p:txBody>
          <a:bodyPr/>
          <a:lstStyle>
            <a:lvl1pPr>
              <a:defRPr sz="1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37160" y="1133856"/>
            <a:ext cx="4206240" cy="3361944"/>
          </a:xfrm>
        </p:spPr>
        <p:txBody>
          <a:bodyPr/>
          <a:lstStyle>
            <a:lvl1pPr>
              <a:lnSpc>
                <a:spcPct val="90000"/>
              </a:lnSpc>
              <a:defRPr sz="9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 b="0" i="0" baseline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31547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37161" y="91440"/>
            <a:ext cx="8778172" cy="4404360"/>
          </a:xfrm>
        </p:spPr>
        <p:txBody>
          <a:bodyPr/>
          <a:lstStyle>
            <a:lvl1pPr>
              <a:defRPr sz="9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12763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3" y="201168"/>
            <a:ext cx="5562535" cy="429463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37428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4123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81301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791457" y="1243584"/>
            <a:ext cx="4123876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37521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10312" y="1216152"/>
            <a:ext cx="4142232" cy="3279648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7856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505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791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077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2682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6" y="457"/>
            <a:ext cx="9133548" cy="5142585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10" name="Picture">
            <a:extLst>
              <a:ext uri="{FF2B5EF4-FFF2-40B4-BE49-F238E27FC236}">
                <a16:creationId xmlns:a16="http://schemas.microsoft.com/office/drawing/2014/main" id="{AF27D010-9F2C-E24B-9425-1712E900993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9774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05741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1837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077456" y="201168"/>
            <a:ext cx="1837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6872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3" y="201168"/>
            <a:ext cx="414216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4123944" cy="4294632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6411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44687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7231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6174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4572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6858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4572000" y="2570163"/>
            <a:ext cx="4572000" cy="257333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AF558B-7F9E-D94C-91DC-907B299967CF}"/>
              </a:ext>
            </a:extLst>
          </p:cNvPr>
          <p:cNvCxnSpPr/>
          <p:nvPr userDrawn="1"/>
        </p:nvCxnSpPr>
        <p:spPr bwMode="auto">
          <a:xfrm flipV="1">
            <a:off x="4572000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EAF49-221E-8B43-8D20-D58F4F885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854434" y="234951"/>
            <a:ext cx="0" cy="211690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F54D63C-09D4-6A49-B605-D1076B01100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792362" y="2570163"/>
            <a:ext cx="41148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28083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4572000" cy="2571751"/>
          </a:xfrm>
          <a:noFill/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4572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6858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2570163"/>
            <a:ext cx="4572000" cy="2573337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4572000" y="2570163"/>
            <a:ext cx="4572000" cy="257333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7703589-7433-EC4D-BE5D-6575D7E7166A}"/>
              </a:ext>
            </a:extLst>
          </p:cNvPr>
          <p:cNvCxnSpPr/>
          <p:nvPr userDrawn="1"/>
        </p:nvCxnSpPr>
        <p:spPr bwMode="auto">
          <a:xfrm flipV="1">
            <a:off x="4572000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18C1B72-1958-D34C-A6E7-456FA9B0FC9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28600" y="2566988"/>
            <a:ext cx="41148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06980A7-369F-8B4C-8947-FB084B5C4D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792362" y="2566988"/>
            <a:ext cx="41148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255AABD-2874-C04C-A3C5-21D11C371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855768" y="234951"/>
            <a:ext cx="0" cy="211690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27739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2569463"/>
          </a:xfrm>
          <a:noFill/>
        </p:spPr>
        <p:txBody>
          <a:bodyPr lIns="182880" tIns="164592" rIns="228600" bIns="228600"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2570163"/>
            <a:ext cx="2286000" cy="2573337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2286001" y="2570163"/>
            <a:ext cx="2286000" cy="257333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72000" y="2570162"/>
            <a:ext cx="2286000" cy="2573338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6858000" y="2570162"/>
            <a:ext cx="2286000" cy="2573338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8320A1C-9D4D-2642-8A60-4D7502759E0A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2286000" y="2791641"/>
            <a:ext cx="0" cy="170415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51D6F0D-CE7A-AD49-AE36-D798DDFEB592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4572000" y="2791641"/>
            <a:ext cx="0" cy="170415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E4FA535-4023-394A-90AB-A2087397CBB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858000" y="2791641"/>
            <a:ext cx="0" cy="170415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7EB495F-72F9-774E-A3C3-3B24D9E37D7D}"/>
              </a:ext>
            </a:extLst>
          </p:cNvPr>
          <p:cNvCxnSpPr/>
          <p:nvPr userDrawn="1"/>
        </p:nvCxnSpPr>
        <p:spPr bwMode="auto">
          <a:xfrm>
            <a:off x="228600" y="2571750"/>
            <a:ext cx="8686800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381556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76350"/>
          </a:xfrm>
          <a:solidFill>
            <a:schemeClr val="tx2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276350"/>
            <a:ext cx="9144000" cy="386715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24250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6" y="457"/>
            <a:ext cx="9133548" cy="5142584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F7EA8AAE-0BDE-7D4C-B52A-496FD9C298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927313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8072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3" y="2571750"/>
            <a:ext cx="2286003" cy="2571750"/>
          </a:xfrm>
          <a:solidFill>
            <a:schemeClr val="tx2"/>
          </a:solidFill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18794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228600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457200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2E18FC-E432-1E42-B894-602F7E42F9FA}"/>
              </a:ext>
            </a:extLst>
          </p:cNvPr>
          <p:cNvCxnSpPr/>
          <p:nvPr userDrawn="1"/>
        </p:nvCxnSpPr>
        <p:spPr bwMode="auto">
          <a:xfrm flipV="1">
            <a:off x="4572000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75E39C-0AE8-5A49-B52F-35BB80D2B041}"/>
              </a:ext>
            </a:extLst>
          </p:cNvPr>
          <p:cNvCxnSpPr/>
          <p:nvPr userDrawn="1"/>
        </p:nvCxnSpPr>
        <p:spPr bwMode="auto">
          <a:xfrm flipV="1">
            <a:off x="2283769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7AC78C-6E13-604B-BABB-F3F41F933F3B}"/>
              </a:ext>
            </a:extLst>
          </p:cNvPr>
          <p:cNvCxnSpPr/>
          <p:nvPr userDrawn="1"/>
        </p:nvCxnSpPr>
        <p:spPr bwMode="auto">
          <a:xfrm flipV="1">
            <a:off x="6855769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64260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514600" y="1243584"/>
            <a:ext cx="6400800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05913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988199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2505456" y="1259626"/>
            <a:ext cx="1837944" cy="3252216"/>
          </a:xfrm>
        </p:spPr>
        <p:txBody>
          <a:bodyPr/>
          <a:lstStyle>
            <a:lvl1pPr>
              <a:spcBef>
                <a:spcPts val="300"/>
              </a:spcBef>
              <a:defRPr sz="1400">
                <a:solidFill>
                  <a:schemeClr val="tx1"/>
                </a:solidFill>
              </a:defRPr>
            </a:lvl1pPr>
            <a:lvl2pPr>
              <a:spcBef>
                <a:spcPts val="1100"/>
              </a:spcBef>
              <a:defRPr sz="1400">
                <a:solidFill>
                  <a:schemeClr val="tx1"/>
                </a:solidFill>
              </a:defRPr>
            </a:lvl2pPr>
            <a:lvl3pPr>
              <a:spcBef>
                <a:spcPts val="11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11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11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45278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505456" y="1262634"/>
            <a:ext cx="1837944" cy="3252216"/>
          </a:xfrm>
        </p:spPr>
        <p:txBody>
          <a:bodyPr/>
          <a:lstStyle>
            <a:lvl1pPr>
              <a:spcBef>
                <a:spcPts val="300"/>
              </a:spcBef>
              <a:defRPr sz="10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defRPr sz="1000">
                <a:solidFill>
                  <a:schemeClr val="tx1"/>
                </a:solidFill>
              </a:defRPr>
            </a:lvl3pPr>
            <a:lvl4pPr>
              <a:spcBef>
                <a:spcPts val="300"/>
              </a:spcBef>
              <a:defRPr sz="1000">
                <a:solidFill>
                  <a:schemeClr val="tx1"/>
                </a:solidFill>
              </a:defRPr>
            </a:lvl4pPr>
            <a:lvl5pPr>
              <a:spcBef>
                <a:spcPts val="3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773168" y="1216152"/>
            <a:ext cx="4142232" cy="3279648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94675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201168"/>
            <a:ext cx="1837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2505457" y="201168"/>
            <a:ext cx="6409876" cy="4294632"/>
          </a:xfrm>
        </p:spPr>
        <p:txBody>
          <a:bodyPr lIns="0" tIns="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07208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690248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79177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61872"/>
            <a:ext cx="4123944" cy="1309878"/>
          </a:xfrm>
        </p:spPr>
        <p:txBody>
          <a:bodyPr/>
          <a:lstStyle>
            <a:lvl1pPr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9456" y="3209544"/>
            <a:ext cx="6409944" cy="1307592"/>
          </a:xfrm>
        </p:spPr>
        <p:txBody>
          <a:bodyPr anchor="b"/>
          <a:lstStyle>
            <a:lvl1pPr>
              <a:spcBef>
                <a:spcPts val="300"/>
              </a:spcBef>
              <a:defRPr sz="600">
                <a:solidFill>
                  <a:schemeClr val="tx1"/>
                </a:solidFill>
              </a:defRPr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48213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6" cy="5142584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2F8C8987-724F-6B47-A6B9-8E11DF00B81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28956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6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23197" y="2312885"/>
            <a:ext cx="1297606" cy="517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6193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8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23198" y="2312885"/>
            <a:ext cx="1297604" cy="517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40142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23197" y="2312885"/>
            <a:ext cx="1297606" cy="517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9311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228600" y="4828032"/>
            <a:ext cx="6400800" cy="13716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IBM Cloud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8780123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6" cy="5142583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7B48B5CA-5BC1-8844-81E1-24543A8F2C9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087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9596131-38DE-3A44-BE82-CDD2A17098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847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22 / © 2022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6877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36EA217-D975-DE4B-A991-B3A7FEFBAC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187" y="3810"/>
            <a:ext cx="9128406" cy="513969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9FC9FB8B-2D23-D949-963B-B1200DEDE8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4072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5" cy="5142583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14C6F24E-1E96-144E-A44F-8124FE9D9BA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0101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5" cy="5142582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BE20C7ED-E83C-DE49-B49C-6FE6E39CB33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1253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4791456" y="201168"/>
            <a:ext cx="4123944" cy="42946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228666" y="4800600"/>
            <a:ext cx="4114735" cy="1666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685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7086601" y="4800600"/>
            <a:ext cx="1828732" cy="1666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20BB8D8-C46D-7A4B-97AF-798F102BA8D4}"/>
              </a:ext>
            </a:extLst>
          </p:cNvPr>
          <p:cNvGrpSpPr/>
          <p:nvPr userDrawn="1"/>
        </p:nvGrpSpPr>
        <p:grpSpPr>
          <a:xfrm>
            <a:off x="-109730" y="-110490"/>
            <a:ext cx="9364220" cy="536448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28219"/>
              <a:ext cx="91440" cy="4686681"/>
              <a:chOff x="-109730" y="228219"/>
              <a:chExt cx="91440" cy="4686681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745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821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1490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28219"/>
              <a:ext cx="91440" cy="4685665"/>
              <a:chOff x="-109730" y="221869"/>
              <a:chExt cx="91440" cy="4685665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110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186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75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4007807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92" r:id="rId1"/>
    <p:sldLayoutId id="2147483926" r:id="rId2"/>
    <p:sldLayoutId id="2147483935" r:id="rId3"/>
    <p:sldLayoutId id="2147483936" r:id="rId4"/>
    <p:sldLayoutId id="2147483937" r:id="rId5"/>
    <p:sldLayoutId id="2147483925" r:id="rId6"/>
    <p:sldLayoutId id="2147483924" r:id="rId7"/>
    <p:sldLayoutId id="2147483938" r:id="rId8"/>
    <p:sldLayoutId id="2147483939" r:id="rId9"/>
    <p:sldLayoutId id="2147483893" r:id="rId10"/>
    <p:sldLayoutId id="2147483894" r:id="rId11"/>
    <p:sldLayoutId id="2147483895" r:id="rId12"/>
    <p:sldLayoutId id="2147483896" r:id="rId13"/>
    <p:sldLayoutId id="2147483897" r:id="rId14"/>
    <p:sldLayoutId id="2147483898" r:id="rId15"/>
    <p:sldLayoutId id="2147483899" r:id="rId16"/>
    <p:sldLayoutId id="2147483900" r:id="rId17"/>
    <p:sldLayoutId id="2147483901" r:id="rId18"/>
    <p:sldLayoutId id="2147483902" r:id="rId19"/>
    <p:sldLayoutId id="2147483903" r:id="rId20"/>
    <p:sldLayoutId id="2147483904" r:id="rId21"/>
    <p:sldLayoutId id="2147483905" r:id="rId22"/>
    <p:sldLayoutId id="2147483906" r:id="rId23"/>
    <p:sldLayoutId id="2147483907" r:id="rId24"/>
    <p:sldLayoutId id="2147483908" r:id="rId25"/>
    <p:sldLayoutId id="2147483909" r:id="rId26"/>
    <p:sldLayoutId id="2147483910" r:id="rId27"/>
    <p:sldLayoutId id="2147483911" r:id="rId28"/>
    <p:sldLayoutId id="2147483912" r:id="rId29"/>
    <p:sldLayoutId id="2147483913" r:id="rId30"/>
    <p:sldLayoutId id="2147483914" r:id="rId31"/>
    <p:sldLayoutId id="2147483915" r:id="rId32"/>
    <p:sldLayoutId id="2147483916" r:id="rId33"/>
    <p:sldLayoutId id="2147483917" r:id="rId34"/>
    <p:sldLayoutId id="2147483918" r:id="rId35"/>
    <p:sldLayoutId id="2147483919" r:id="rId36"/>
    <p:sldLayoutId id="2147483920" r:id="rId37"/>
    <p:sldLayoutId id="2147483921" r:id="rId38"/>
    <p:sldLayoutId id="2147483922" r:id="rId39"/>
    <p:sldLayoutId id="2147483933" r:id="rId40"/>
    <p:sldLayoutId id="2147483934" r:id="rId41"/>
    <p:sldLayoutId id="2147483923" r:id="rId42"/>
    <p:sldLayoutId id="2147483941" r:id="rId43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5pPr>
      <a:lvl6pPr marL="36256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6pPr>
      <a:lvl7pPr marL="72513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7pPr>
      <a:lvl8pPr marL="108770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8pPr>
      <a:lvl9pPr marL="145027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90000"/>
        <a:buFont typeface="IBM Plex Sans Light" pitchFamily="2" charset="2"/>
        <a:buNone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marL="171452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2pPr>
      <a:lvl3pPr marL="342905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panose="020B0604020202020204" pitchFamily="34" charset="0"/>
        <a:buChar char="•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3pPr>
      <a:lvl4pPr marL="628658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400" b="0" i="0" baseline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4pPr>
      <a:lvl5pPr marL="803285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Font typeface="IBM Plex Sans Light" charset="-120"/>
        <a:buChar char="»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5pPr>
      <a:lvl6pPr marL="1583721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6pPr>
      <a:lvl7pPr marL="1946291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7pPr>
      <a:lvl8pPr marL="2308860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8pPr>
      <a:lvl9pPr marL="2671430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9pPr>
    </p:bodyStyle>
    <p:otherStyle>
      <a:defPPr>
        <a:defRPr lang="en-US"/>
      </a:defPPr>
      <a:lvl1pPr marL="0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1pPr>
      <a:lvl2pPr marL="362568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2pPr>
      <a:lvl3pPr marL="725139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3pPr>
      <a:lvl4pPr marL="1087707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4pPr>
      <a:lvl5pPr marL="1450276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5pPr>
      <a:lvl6pPr marL="1812846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6pPr>
      <a:lvl7pPr marL="2175414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7pPr>
      <a:lvl8pPr marL="2537983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8pPr>
      <a:lvl9pPr marL="2900552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 userDrawn="1">
          <p15:clr>
            <a:srgbClr val="F26B43"/>
          </p15:clr>
        </p15:guide>
        <p15:guide id="2" pos="144" userDrawn="1">
          <p15:clr>
            <a:srgbClr val="F26B43"/>
          </p15:clr>
        </p15:guide>
        <p15:guide id="3" pos="5616" userDrawn="1">
          <p15:clr>
            <a:srgbClr val="F26B43"/>
          </p15:clr>
        </p15:guide>
        <p15:guide id="4" orient="horz" pos="2832" userDrawn="1">
          <p15:clr>
            <a:srgbClr val="F26B43"/>
          </p15:clr>
        </p15:guide>
        <p15:guide id="5" orient="horz" pos="3094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pos="2736" userDrawn="1">
          <p15:clr>
            <a:srgbClr val="F26B43"/>
          </p15:clr>
        </p15:guide>
        <p15:guide id="8" pos="1440" userDrawn="1">
          <p15:clr>
            <a:srgbClr val="F26B43"/>
          </p15:clr>
        </p15:guide>
        <p15:guide id="9" pos="3024" userDrawn="1">
          <p15:clr>
            <a:srgbClr val="F26B43"/>
          </p15:clr>
        </p15:guide>
        <p15:guide id="10" pos="1296" userDrawn="1">
          <p15:clr>
            <a:srgbClr val="F26B43"/>
          </p15:clr>
        </p15:guide>
        <p15:guide id="11" pos="1584" userDrawn="1">
          <p15:clr>
            <a:srgbClr val="F26B43"/>
          </p15:clr>
        </p15:guide>
        <p15:guide id="12" pos="4320" userDrawn="1">
          <p15:clr>
            <a:srgbClr val="F26B43"/>
          </p15:clr>
        </p15:guide>
        <p15:guide id="13" pos="4176" userDrawn="1">
          <p15:clr>
            <a:srgbClr val="F26B43"/>
          </p15:clr>
        </p15:guide>
        <p15:guide id="14" pos="4464" userDrawn="1">
          <p15:clr>
            <a:srgbClr val="F26B43"/>
          </p15:clr>
        </p15:guide>
        <p15:guide id="15" orient="horz" pos="412" userDrawn="1">
          <p15:clr>
            <a:srgbClr val="F26B43"/>
          </p15:clr>
        </p15:guide>
        <p15:guide id="17" orient="horz" pos="812" userDrawn="1">
          <p15:clr>
            <a:srgbClr val="F26B43"/>
          </p15:clr>
        </p15:guide>
        <p15:guide id="18" orient="horz" pos="1620" userDrawn="1">
          <p15:clr>
            <a:srgbClr val="F26B43"/>
          </p15:clr>
        </p15:guide>
        <p15:guide id="19" orient="horz" pos="1216" userDrawn="1">
          <p15:clr>
            <a:srgbClr val="F26B43"/>
          </p15:clr>
        </p15:guide>
        <p15:guide id="20" orient="horz" pos="2022" userDrawn="1">
          <p15:clr>
            <a:srgbClr val="F26B43"/>
          </p15:clr>
        </p15:guide>
        <p15:guide id="21" orient="horz" pos="242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15.png"/><Relationship Id="rId4" Type="http://schemas.openxmlformats.org/officeDocument/2006/relationships/image" Target="../media/image14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hyperlink" Target="https://techzone.ibm.com/collection/platinum-demos-observability" TargetMode="Externa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notesSlide" Target="../notesSlides/notesSlide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17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hyperlink" Target="https://ibm.ent.box.com/s/eogn2t43x23nk8ksyk236teqppe5d49e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g"/><Relationship Id="rId3" Type="http://schemas.openxmlformats.org/officeDocument/2006/relationships/tags" Target="../tags/tag13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slideLayout" Target="../slideLayouts/slideLayout25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image" Target="../media/image14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image" Target="../media/image14.jpg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image" Target="../media/image13.jp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slideLayout" Target="../slideLayouts/slideLayout25.xml"/><Relationship Id="rId5" Type="http://schemas.openxmlformats.org/officeDocument/2006/relationships/tags" Target="../tags/tag20.xml"/><Relationship Id="rId10" Type="http://schemas.openxmlformats.org/officeDocument/2006/relationships/tags" Target="../tags/tag25.xml"/><Relationship Id="rId4" Type="http://schemas.openxmlformats.org/officeDocument/2006/relationships/tags" Target="../tags/tag19.xml"/><Relationship Id="rId9" Type="http://schemas.openxmlformats.org/officeDocument/2006/relationships/tags" Target="../tags/tag2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image" Target="../media/image14.jpg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12" Type="http://schemas.openxmlformats.org/officeDocument/2006/relationships/image" Target="../media/image13.jp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11" Type="http://schemas.openxmlformats.org/officeDocument/2006/relationships/slideLayout" Target="../slideLayouts/slideLayout25.xml"/><Relationship Id="rId5" Type="http://schemas.openxmlformats.org/officeDocument/2006/relationships/tags" Target="../tags/tag30.xml"/><Relationship Id="rId10" Type="http://schemas.openxmlformats.org/officeDocument/2006/relationships/tags" Target="../tags/tag35.xml"/><Relationship Id="rId4" Type="http://schemas.openxmlformats.org/officeDocument/2006/relationships/tags" Target="../tags/tag29.xml"/><Relationship Id="rId9" Type="http://schemas.openxmlformats.org/officeDocument/2006/relationships/tags" Target="../tags/tag3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14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14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15.png"/><Relationship Id="rId4" Type="http://schemas.openxmlformats.org/officeDocument/2006/relationships/image" Target="../media/image14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17.xml"/><Relationship Id="rId6" Type="http://schemas.openxmlformats.org/officeDocument/2006/relationships/hyperlink" Target="https://www.ibm.com/docs/en/obi/current?topic=instana-monitoring-applications" TargetMode="External"/><Relationship Id="rId5" Type="http://schemas.openxmlformats.org/officeDocument/2006/relationships/hyperlink" Target="https://www.ibm.com/docs/en/obi/current?topic=setting-up-managing-instana" TargetMode="External"/><Relationship Id="rId4" Type="http://schemas.openxmlformats.org/officeDocument/2006/relationships/hyperlink" Target="https://www.ibm.com/docs/en/obi/current?topic=references-getting-started-instana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blur&#10;&#10;Description automatically generated">
            <a:extLst>
              <a:ext uri="{FF2B5EF4-FFF2-40B4-BE49-F238E27FC236}">
                <a16:creationId xmlns:a16="http://schemas.microsoft.com/office/drawing/2014/main" id="{9248A943-7586-A342-8A23-BA5EFE9C058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7" name="Picture 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609E39F-C2F6-3441-964F-08C396BB657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15" name="Title">
            <a:extLst>
              <a:ext uri="{FF2B5EF4-FFF2-40B4-BE49-F238E27FC236}">
                <a16:creationId xmlns:a16="http://schemas.microsoft.com/office/drawing/2014/main" id="{2957EB19-7404-0245-BE19-789038684254}"/>
              </a:ext>
            </a:extLst>
          </p:cNvPr>
          <p:cNvSpPr txBox="1">
            <a:spLocks/>
          </p:cNvSpPr>
          <p:nvPr/>
        </p:nvSpPr>
        <p:spPr>
          <a:xfrm>
            <a:off x="266700" y="253999"/>
            <a:ext cx="4039293" cy="1181101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utomation </a:t>
            </a:r>
            <a:r>
              <a:rPr kumimoji="0" lang="en-US" sz="140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latinum</a:t>
            </a: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emo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bservability</a:t>
            </a:r>
            <a:br>
              <a: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1AD0B242-3213-8547-8C3F-3FF3BED0EB2C}"/>
              </a:ext>
            </a:extLst>
          </p:cNvPr>
          <p:cNvSpPr txBox="1">
            <a:spLocks/>
          </p:cNvSpPr>
          <p:nvPr/>
        </p:nvSpPr>
        <p:spPr>
          <a:xfrm>
            <a:off x="0" y="2272793"/>
            <a:ext cx="9144000" cy="1435608"/>
          </a:xfrm>
          <a:prstGeom prst="rect">
            <a:avLst/>
          </a:prstGeom>
        </p:spPr>
        <p:txBody>
          <a:bodyPr lIns="0" rIns="0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troduction </a:t>
            </a:r>
            <a:r>
              <a:rPr lang="en-US" sz="40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overview</a:t>
            </a:r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6453253C-8EA9-B247-8830-64D0A0EDB5C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1082" r="21250"/>
          <a:stretch/>
        </p:blipFill>
        <p:spPr>
          <a:xfrm>
            <a:off x="8375650" y="4495800"/>
            <a:ext cx="550847" cy="635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0493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able 8">
            <a:extLst>
              <a:ext uri="{FF2B5EF4-FFF2-40B4-BE49-F238E27FC236}">
                <a16:creationId xmlns:a16="http://schemas.microsoft.com/office/drawing/2014/main" id="{149BD815-5ED7-E965-C053-74F02E2830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6780114"/>
              </p:ext>
            </p:extLst>
          </p:nvPr>
        </p:nvGraphicFramePr>
        <p:xfrm>
          <a:off x="228665" y="692448"/>
          <a:ext cx="8705023" cy="302260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2420192">
                  <a:extLst>
                    <a:ext uri="{9D8B030D-6E8A-4147-A177-3AD203B41FA5}">
                      <a16:colId xmlns:a16="http://schemas.microsoft.com/office/drawing/2014/main" val="843429630"/>
                    </a:ext>
                  </a:extLst>
                </a:gridCol>
                <a:gridCol w="6284831">
                  <a:extLst>
                    <a:ext uri="{9D8B030D-6E8A-4147-A177-3AD203B41FA5}">
                      <a16:colId xmlns:a16="http://schemas.microsoft.com/office/drawing/2014/main" val="5040058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urpose of this deck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is deck is to be shown to customers to introduce and summarize the </a:t>
                      </a:r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servability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mo.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61591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cenario overview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demo uses a web retail example to show how IBM Instana helps SREs and IT Operations teams quickly identify and resolve incidents in a microservices-based application. 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46936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duct(s) in the demo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i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stana</a:t>
                      </a:r>
                      <a:r>
                        <a:rPr lang="en-US" sz="110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observability)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4972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pabilities to be demonstrated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pendency mapping; Intelligent alerting; Distributed tracing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12165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upported product version(s)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stana</a:t>
                      </a:r>
                      <a:r>
                        <a:rPr lang="en-US" sz="1100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3.213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45130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BM Technology Zone page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hlinkClick r:id="rId13"/>
                        </a:rPr>
                        <a:t>https://techzone.ibm.com/collection/platinum-demos-observability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42904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mo video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hlinkClick r:id="rId14"/>
                        </a:rPr>
                        <a:t>https://ibm.ent.box.com/s/eogn2t43x23nk8ksyk236teqppe5d49e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7290617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mo components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122663667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3C6CA3C-B257-FA45-BDDC-DD0682655A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5729571" cy="804672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emo overview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0293D5-E65B-FF41-B517-6F3F285C22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50C2ADF-0A9C-374C-90E9-2A5628F1D410}"/>
              </a:ext>
            </a:extLst>
          </p:cNvPr>
          <p:cNvSpPr txBox="1"/>
          <p:nvPr/>
        </p:nvSpPr>
        <p:spPr>
          <a:xfrm>
            <a:off x="4343401" y="112971"/>
            <a:ext cx="4709807" cy="369332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txBody>
          <a:bodyPr wrap="square" lIns="91440" tIns="91440" rIns="91440" bIns="91440" rtlCol="0">
            <a:spAutoFit/>
          </a:bodyPr>
          <a:lstStyle/>
          <a:p>
            <a:pPr algn="ctr">
              <a:spcBef>
                <a:spcPts val="1100"/>
              </a:spcBef>
            </a:pPr>
            <a:r>
              <a:rPr lang="en-US" sz="1200" b="1" dirty="0">
                <a:solidFill>
                  <a:srgbClr val="FF0000"/>
                </a:solidFill>
                <a:latin typeface="Arial" panose="020B0604020202020204" pitchFamily="34" charset="0"/>
                <a:ea typeface="IBM Plex Sans" charset="0"/>
                <a:cs typeface="Arial" panose="020B0604020202020204" pitchFamily="34" charset="0"/>
              </a:rPr>
              <a:t>REMOVE THIS SLIDE BEFORE PRESENTING TO CUSTOMERS</a:t>
            </a:r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B7ABB1BD-B50B-1D70-D9C1-2DD114E26D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086135" y="3636760"/>
            <a:ext cx="6344387" cy="1355052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none" lIns="91440" anchor="t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1200" b="1" kern="0" dirty="0">
              <a:latin typeface="+mn-lt"/>
              <a:ea typeface="+mn-ea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92B74D0-F512-B7A3-CC2C-8B7AA65BCFFC}"/>
              </a:ext>
            </a:extLst>
          </p:cNvPr>
          <p:cNvSpPr txBox="1"/>
          <p:nvPr/>
        </p:nvSpPr>
        <p:spPr>
          <a:xfrm>
            <a:off x="2085665" y="4754101"/>
            <a:ext cx="6344387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kern="0" dirty="0" err="1">
                <a:latin typeface="Arial" panose="020B0604020202020204" pitchFamily="34" charset="0"/>
                <a:cs typeface="Arial" panose="020B0604020202020204" pitchFamily="34" charset="0"/>
              </a:rPr>
              <a:t>Instana</a:t>
            </a:r>
            <a:endParaRPr lang="en-US" sz="8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0DA586A7-7844-DF79-EFFE-6929ED85B13B}"/>
              </a:ext>
            </a:extLst>
          </p:cNvPr>
          <p:cNvGrpSpPr/>
          <p:nvPr/>
        </p:nvGrpSpPr>
        <p:grpSpPr>
          <a:xfrm>
            <a:off x="2205657" y="3733843"/>
            <a:ext cx="6105342" cy="1013565"/>
            <a:chOff x="2592085" y="3779931"/>
            <a:chExt cx="6105342" cy="1013565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F2D3AEDF-B641-758F-2FB6-F94C1C751109}"/>
                </a:ext>
              </a:extLst>
            </p:cNvPr>
            <p:cNvGrpSpPr/>
            <p:nvPr/>
          </p:nvGrpSpPr>
          <p:grpSpPr>
            <a:xfrm>
              <a:off x="4655966" y="3788087"/>
              <a:ext cx="1975104" cy="998716"/>
              <a:chOff x="4255980" y="3779931"/>
              <a:chExt cx="1975104" cy="998716"/>
            </a:xfrm>
          </p:grpSpPr>
          <p:sp>
            <p:nvSpPr>
              <p:cNvPr id="22" name="Rectangle 3">
                <a:extLst>
                  <a:ext uri="{FF2B5EF4-FFF2-40B4-BE49-F238E27FC236}">
                    <a16:creationId xmlns:a16="http://schemas.microsoft.com/office/drawing/2014/main" id="{2941AA20-D1EF-8240-1FFE-DB4F18D75D36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4255980" y="3779931"/>
                <a:ext cx="1975104" cy="99871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wrap="square" anchor="t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marL="0" lvl="1" indent="0" algn="ctr" defTabSz="914400" fontAlgn="base">
                  <a:spcBef>
                    <a:spcPts val="110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</a:pPr>
                <a:br>
                  <a:rPr lang="en-US" sz="8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800" b="1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telligent alerting</a:t>
                </a:r>
              </a:p>
            </p:txBody>
          </p:sp>
          <p:grpSp>
            <p:nvGrpSpPr>
              <p:cNvPr id="3" name="Group 2">
                <a:extLst>
                  <a:ext uri="{FF2B5EF4-FFF2-40B4-BE49-F238E27FC236}">
                    <a16:creationId xmlns:a16="http://schemas.microsoft.com/office/drawing/2014/main" id="{391032F8-FF9E-370C-0DC8-ACCED97FDD74}"/>
                  </a:ext>
                </a:extLst>
              </p:cNvPr>
              <p:cNvGrpSpPr/>
              <p:nvPr/>
            </p:nvGrpSpPr>
            <p:grpSpPr>
              <a:xfrm>
                <a:off x="4344944" y="4214637"/>
                <a:ext cx="1797177" cy="371106"/>
                <a:chOff x="4451258" y="4214637"/>
                <a:chExt cx="1797177" cy="371106"/>
              </a:xfrm>
            </p:grpSpPr>
            <p:sp>
              <p:nvSpPr>
                <p:cNvPr id="23" name="Rectangle 3">
                  <a:extLst>
                    <a:ext uri="{FF2B5EF4-FFF2-40B4-BE49-F238E27FC236}">
                      <a16:creationId xmlns:a16="http://schemas.microsoft.com/office/drawing/2014/main" id="{C3BB6571-7851-78D1-CABA-454BCA916E1C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9"/>
                  </p:custDataLst>
                </p:nvPr>
              </p:nvSpPr>
              <p:spPr bwMode="auto">
                <a:xfrm>
                  <a:off x="5370611" y="4214637"/>
                  <a:ext cx="877824" cy="371106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anchor="ctr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0" lvl="1" indent="0" algn="ctr" defTabSz="914400" fontAlgn="base">
                    <a:spcBef>
                      <a:spcPts val="1100"/>
                    </a:spcBef>
                    <a:spcAft>
                      <a:spcPct val="0"/>
                    </a:spcAft>
                    <a:buClr>
                      <a:schemeClr val="bg1"/>
                    </a:buClr>
                    <a:buSzPct val="100000"/>
                  </a:pPr>
                  <a:r>
                    <a:rPr lang="en-US" sz="8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cident detection</a:t>
                  </a:r>
                </a:p>
              </p:txBody>
            </p:sp>
            <p:sp>
              <p:nvSpPr>
                <p:cNvPr id="25" name="Rectangle 3">
                  <a:extLst>
                    <a:ext uri="{FF2B5EF4-FFF2-40B4-BE49-F238E27FC236}">
                      <a16:creationId xmlns:a16="http://schemas.microsoft.com/office/drawing/2014/main" id="{0201CCD5-41C0-8382-16AD-471A3CE5920A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10"/>
                  </p:custDataLst>
                </p:nvPr>
              </p:nvSpPr>
              <p:spPr bwMode="auto">
                <a:xfrm>
                  <a:off x="4451258" y="4214637"/>
                  <a:ext cx="877824" cy="371106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anchor="ctr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0" lvl="1" indent="0" algn="ctr" defTabSz="914400" fontAlgn="base">
                    <a:spcBef>
                      <a:spcPts val="1100"/>
                    </a:spcBef>
                    <a:spcAft>
                      <a:spcPct val="0"/>
                    </a:spcAft>
                    <a:buClr>
                      <a:schemeClr val="bg1"/>
                    </a:buClr>
                    <a:buSzPct val="100000"/>
                  </a:pPr>
                  <a:r>
                    <a:rPr lang="en-US" sz="8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Event management</a:t>
                  </a:r>
                </a:p>
              </p:txBody>
            </p:sp>
          </p:grp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C09BE599-39A1-8EB9-E50D-711C307C5517}"/>
                </a:ext>
              </a:extLst>
            </p:cNvPr>
            <p:cNvGrpSpPr/>
            <p:nvPr/>
          </p:nvGrpSpPr>
          <p:grpSpPr>
            <a:xfrm>
              <a:off x="6719847" y="3779931"/>
              <a:ext cx="1977580" cy="998716"/>
              <a:chOff x="6703371" y="3779931"/>
              <a:chExt cx="1977580" cy="998716"/>
            </a:xfrm>
          </p:grpSpPr>
          <p:sp>
            <p:nvSpPr>
              <p:cNvPr id="14" name="Rectangle 3">
                <a:extLst>
                  <a:ext uri="{FF2B5EF4-FFF2-40B4-BE49-F238E27FC236}">
                    <a16:creationId xmlns:a16="http://schemas.microsoft.com/office/drawing/2014/main" id="{2D7C5442-9ECF-E86C-5717-4C2669BDA786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6703371" y="3779931"/>
                <a:ext cx="1977580" cy="99871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wrap="square" anchor="t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marL="0" lvl="1" indent="0" algn="ctr" defTabSz="914400" fontAlgn="base">
                  <a:spcBef>
                    <a:spcPts val="110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</a:pPr>
                <a:br>
                  <a:rPr lang="en-US" sz="8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800" b="1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istributed tracing</a:t>
                </a:r>
              </a:p>
            </p:txBody>
          </p:sp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id="{58E8B76F-62E7-84C6-A356-79DB8B8CDD17}"/>
                  </a:ext>
                </a:extLst>
              </p:cNvPr>
              <p:cNvGrpSpPr/>
              <p:nvPr/>
            </p:nvGrpSpPr>
            <p:grpSpPr>
              <a:xfrm>
                <a:off x="6793573" y="4214637"/>
                <a:ext cx="1797177" cy="371106"/>
                <a:chOff x="4451258" y="4214637"/>
                <a:chExt cx="1797177" cy="371106"/>
              </a:xfrm>
            </p:grpSpPr>
            <p:sp>
              <p:nvSpPr>
                <p:cNvPr id="32" name="Rectangle 3">
                  <a:extLst>
                    <a:ext uri="{FF2B5EF4-FFF2-40B4-BE49-F238E27FC236}">
                      <a16:creationId xmlns:a16="http://schemas.microsoft.com/office/drawing/2014/main" id="{806BA295-F990-C683-33B5-6224E448A92E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6"/>
                  </p:custDataLst>
                </p:nvPr>
              </p:nvSpPr>
              <p:spPr bwMode="auto">
                <a:xfrm>
                  <a:off x="5370611" y="4214637"/>
                  <a:ext cx="877824" cy="371106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anchor="ctr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0" lvl="1" indent="0" algn="ctr" defTabSz="914400" fontAlgn="base">
                    <a:spcBef>
                      <a:spcPts val="1100"/>
                    </a:spcBef>
                    <a:spcAft>
                      <a:spcPct val="0"/>
                    </a:spcAft>
                    <a:buClr>
                      <a:schemeClr val="bg1"/>
                    </a:buClr>
                    <a:buSzPct val="100000"/>
                  </a:pPr>
                  <a:r>
                    <a:rPr lang="en-US" sz="8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Trace</a:t>
                  </a:r>
                  <a:br>
                    <a:rPr lang="en-US" sz="8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</a:br>
                  <a:r>
                    <a:rPr lang="en-US" sz="8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analytics</a:t>
                  </a:r>
                </a:p>
              </p:txBody>
            </p:sp>
            <p:sp>
              <p:nvSpPr>
                <p:cNvPr id="33" name="Rectangle 3">
                  <a:extLst>
                    <a:ext uri="{FF2B5EF4-FFF2-40B4-BE49-F238E27FC236}">
                      <a16:creationId xmlns:a16="http://schemas.microsoft.com/office/drawing/2014/main" id="{F2F375CF-206A-15E0-8FC2-1BEDDEC3257E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7"/>
                  </p:custDataLst>
                </p:nvPr>
              </p:nvSpPr>
              <p:spPr bwMode="auto">
                <a:xfrm>
                  <a:off x="4451258" y="4214637"/>
                  <a:ext cx="877824" cy="371106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anchor="ctr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0" lvl="1" indent="0" algn="ctr" defTabSz="914400" fontAlgn="base">
                    <a:spcBef>
                      <a:spcPts val="1100"/>
                    </a:spcBef>
                    <a:spcAft>
                      <a:spcPct val="0"/>
                    </a:spcAft>
                    <a:buClr>
                      <a:schemeClr val="bg1"/>
                    </a:buClr>
                    <a:buSzPct val="100000"/>
                  </a:pPr>
                  <a:r>
                    <a:rPr lang="en-US" sz="8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Trace call visualization</a:t>
                  </a:r>
                </a:p>
              </p:txBody>
            </p:sp>
          </p:grp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824D1796-3C47-AE21-7F2D-04AE8ADCE75F}"/>
                </a:ext>
              </a:extLst>
            </p:cNvPr>
            <p:cNvGrpSpPr/>
            <p:nvPr/>
          </p:nvGrpSpPr>
          <p:grpSpPr>
            <a:xfrm>
              <a:off x="2592085" y="3794780"/>
              <a:ext cx="1975104" cy="998716"/>
              <a:chOff x="4255980" y="3779931"/>
              <a:chExt cx="1975104" cy="998716"/>
            </a:xfrm>
          </p:grpSpPr>
          <p:sp>
            <p:nvSpPr>
              <p:cNvPr id="39" name="Rectangle 3">
                <a:extLst>
                  <a:ext uri="{FF2B5EF4-FFF2-40B4-BE49-F238E27FC236}">
                    <a16:creationId xmlns:a16="http://schemas.microsoft.com/office/drawing/2014/main" id="{D7DC826B-9320-FD3E-1D4C-DDA663887E42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4255980" y="3779931"/>
                <a:ext cx="1975104" cy="99871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wrap="square" anchor="t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marL="0" lvl="1" indent="0" algn="ctr" defTabSz="914400" fontAlgn="base">
                  <a:spcBef>
                    <a:spcPts val="110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</a:pPr>
                <a:br>
                  <a:rPr lang="en-US" sz="8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800" b="1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ependency mapping</a:t>
                </a:r>
              </a:p>
            </p:txBody>
          </p:sp>
          <p:grpSp>
            <p:nvGrpSpPr>
              <p:cNvPr id="40" name="Group 39">
                <a:extLst>
                  <a:ext uri="{FF2B5EF4-FFF2-40B4-BE49-F238E27FC236}">
                    <a16:creationId xmlns:a16="http://schemas.microsoft.com/office/drawing/2014/main" id="{CEA4E2C8-FEF6-647A-324D-C775545E1FDA}"/>
                  </a:ext>
                </a:extLst>
              </p:cNvPr>
              <p:cNvGrpSpPr/>
              <p:nvPr/>
            </p:nvGrpSpPr>
            <p:grpSpPr>
              <a:xfrm>
                <a:off x="4344944" y="4214637"/>
                <a:ext cx="1797177" cy="371106"/>
                <a:chOff x="4451258" y="4214637"/>
                <a:chExt cx="1797177" cy="371106"/>
              </a:xfrm>
            </p:grpSpPr>
            <p:sp>
              <p:nvSpPr>
                <p:cNvPr id="41" name="Rectangle 3">
                  <a:extLst>
                    <a:ext uri="{FF2B5EF4-FFF2-40B4-BE49-F238E27FC236}">
                      <a16:creationId xmlns:a16="http://schemas.microsoft.com/office/drawing/2014/main" id="{B2B872E5-C9CD-D056-8F33-E298F91A8597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3"/>
                  </p:custDataLst>
                </p:nvPr>
              </p:nvSpPr>
              <p:spPr bwMode="auto">
                <a:xfrm>
                  <a:off x="5370611" y="4214637"/>
                  <a:ext cx="877824" cy="371106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anchor="ctr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0" lvl="1" indent="0" algn="ctr" defTabSz="914400" fontAlgn="base">
                    <a:spcBef>
                      <a:spcPts val="1100"/>
                    </a:spcBef>
                    <a:spcAft>
                      <a:spcPct val="0"/>
                    </a:spcAft>
                    <a:buClr>
                      <a:schemeClr val="bg1"/>
                    </a:buClr>
                    <a:buSzPct val="100000"/>
                  </a:pPr>
                  <a:r>
                    <a:rPr lang="en-US" sz="8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Application perspectives</a:t>
                  </a:r>
                </a:p>
              </p:txBody>
            </p:sp>
            <p:sp>
              <p:nvSpPr>
                <p:cNvPr id="42" name="Rectangle 3">
                  <a:extLst>
                    <a:ext uri="{FF2B5EF4-FFF2-40B4-BE49-F238E27FC236}">
                      <a16:creationId xmlns:a16="http://schemas.microsoft.com/office/drawing/2014/main" id="{A5867395-0AFA-58DE-7259-DB93B13BF272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4"/>
                  </p:custDataLst>
                </p:nvPr>
              </p:nvSpPr>
              <p:spPr bwMode="auto">
                <a:xfrm>
                  <a:off x="4451258" y="4214637"/>
                  <a:ext cx="877824" cy="371106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anchor="ctr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0" lvl="1" indent="0" algn="ctr" defTabSz="914400" fontAlgn="base">
                    <a:spcBef>
                      <a:spcPts val="1100"/>
                    </a:spcBef>
                    <a:spcAft>
                      <a:spcPct val="0"/>
                    </a:spcAft>
                    <a:buClr>
                      <a:schemeClr val="bg1"/>
                    </a:buClr>
                    <a:buSzPct val="100000"/>
                  </a:pPr>
                  <a:r>
                    <a:rPr lang="en-US" sz="8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Dynamic</a:t>
                  </a:r>
                  <a:br>
                    <a:rPr lang="en-US" sz="8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</a:br>
                  <a:r>
                    <a:rPr lang="en-US" sz="8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graphing</a:t>
                  </a:r>
                </a:p>
              </p:txBody>
            </p:sp>
          </p:grpSp>
        </p:grp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0FBBE22A-387A-A94F-9539-98588C77C236}"/>
              </a:ext>
            </a:extLst>
          </p:cNvPr>
          <p:cNvSpPr txBox="1"/>
          <p:nvPr/>
        </p:nvSpPr>
        <p:spPr>
          <a:xfrm>
            <a:off x="2085664" y="3411050"/>
            <a:ext cx="6344387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b="1" kern="0" dirty="0">
                <a:latin typeface="Arial" panose="020B0604020202020204" pitchFamily="34" charset="0"/>
                <a:cs typeface="Arial" panose="020B0604020202020204" pitchFamily="34" charset="0"/>
              </a:rPr>
              <a:t>SaaS</a:t>
            </a:r>
          </a:p>
        </p:txBody>
      </p:sp>
    </p:spTree>
    <p:extLst>
      <p:ext uri="{BB962C8B-B14F-4D97-AF65-F5344CB8AC3E}">
        <p14:creationId xmlns:p14="http://schemas.microsoft.com/office/powerpoint/2010/main" val="6143302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 descr="A picture containing blur&#10;&#10;Description automatically generated">
            <a:extLst>
              <a:ext uri="{FF2B5EF4-FFF2-40B4-BE49-F238E27FC236}">
                <a16:creationId xmlns:a16="http://schemas.microsoft.com/office/drawing/2014/main" id="{A42CA76D-10BE-38CF-9108-19C614A10127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32" name="Picture 31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2B30B55A-DD7C-9B0E-B775-E69678CFA13C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9"/>
            <a:ext cx="8705022" cy="302708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 overview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3" name="Straight Connector 1">
            <a:extLst>
              <a:ext uri="{FF2B5EF4-FFF2-40B4-BE49-F238E27FC236}">
                <a16:creationId xmlns:a16="http://schemas.microsoft.com/office/drawing/2014/main" id="{A68CDC5D-A261-DE43-81EE-201B7FFD15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30407" y="4119832"/>
            <a:ext cx="8684926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663D44C0-2EC9-C848-9F91-E6E4BBF7F02C}"/>
              </a:ext>
            </a:extLst>
          </p:cNvPr>
          <p:cNvSpPr/>
          <p:nvPr/>
        </p:nvSpPr>
        <p:spPr>
          <a:xfrm>
            <a:off x="210311" y="4148520"/>
            <a:ext cx="1612312" cy="401648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27000" tIns="27000" rIns="27000" bIns="27000" numCol="1" rtlCol="0" anchor="t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oud Pak capabilities in the demo</a:t>
            </a:r>
          </a:p>
        </p:txBody>
      </p:sp>
      <p:cxnSp>
        <p:nvCxnSpPr>
          <p:cNvPr id="27" name="Straight Connector 1">
            <a:extLst>
              <a:ext uri="{FF2B5EF4-FFF2-40B4-BE49-F238E27FC236}">
                <a16:creationId xmlns:a16="http://schemas.microsoft.com/office/drawing/2014/main" id="{F64196B1-B759-B245-9DB0-3AE276C836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30407" y="911376"/>
            <a:ext cx="8684926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8B3D0802-84E9-6B43-9827-DE75289CF9DB}"/>
              </a:ext>
            </a:extLst>
          </p:cNvPr>
          <p:cNvSpPr/>
          <p:nvPr/>
        </p:nvSpPr>
        <p:spPr>
          <a:xfrm>
            <a:off x="210311" y="945779"/>
            <a:ext cx="1612312" cy="401648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27000" tIns="27000" rIns="27000" bIns="27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enario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6988AD7-88A6-AC9E-B986-48812387CD0F}"/>
              </a:ext>
            </a:extLst>
          </p:cNvPr>
          <p:cNvGrpSpPr/>
          <p:nvPr/>
        </p:nvGrpSpPr>
        <p:grpSpPr>
          <a:xfrm>
            <a:off x="2602618" y="4272990"/>
            <a:ext cx="5739305" cy="483254"/>
            <a:chOff x="2602618" y="4173469"/>
            <a:chExt cx="5739305" cy="483254"/>
          </a:xfrm>
        </p:grpSpPr>
        <p:sp>
          <p:nvSpPr>
            <p:cNvPr id="29" name="Rectangle 4">
              <a:extLst>
                <a:ext uri="{FF2B5EF4-FFF2-40B4-BE49-F238E27FC236}">
                  <a16:creationId xmlns:a16="http://schemas.microsoft.com/office/drawing/2014/main" id="{0DC36E1D-49AF-1941-9B71-E808D818AA7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602619" y="4173469"/>
              <a:ext cx="5739304" cy="483254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200" b="1" kern="0" dirty="0">
                <a:latin typeface="+mn-lt"/>
                <a:ea typeface="+mn-ea"/>
              </a:endParaRP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990032F-438D-7B4D-92E0-87BE922C0EE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512980" y="4271234"/>
              <a:ext cx="0" cy="300524"/>
            </a:xfrm>
            <a:prstGeom prst="line">
              <a:avLst/>
            </a:prstGeom>
            <a:ln w="3175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5062C80D-D612-5B40-84ED-64EB1151A7B1}"/>
                </a:ext>
              </a:extLst>
            </p:cNvPr>
            <p:cNvSpPr/>
            <p:nvPr/>
          </p:nvSpPr>
          <p:spPr>
            <a:xfrm>
              <a:off x="2602618" y="4173469"/>
              <a:ext cx="1910362" cy="477274"/>
            </a:xfrm>
            <a:prstGeom prst="rect">
              <a:avLst/>
            </a:prstGeom>
            <a:noFill/>
            <a:ln w="19050">
              <a:noFill/>
              <a:headEnd type="none" w="med" len="med"/>
              <a:tailEnd type="none" w="med" len="med"/>
            </a:ln>
            <a:effectLst>
              <a:softEdge rad="0"/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27000" tIns="27000" rIns="27000" bIns="2700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defTabSz="914400"/>
              <a:r>
                <a:rPr lang="en-US" sz="12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pendency mapping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B06FBC97-493F-8842-94F7-6D1E762DB9D9}"/>
                </a:ext>
              </a:extLst>
            </p:cNvPr>
            <p:cNvSpPr/>
            <p:nvPr/>
          </p:nvSpPr>
          <p:spPr>
            <a:xfrm>
              <a:off x="4512979" y="4173469"/>
              <a:ext cx="1910362" cy="477274"/>
            </a:xfrm>
            <a:prstGeom prst="rect">
              <a:avLst/>
            </a:prstGeom>
            <a:noFill/>
            <a:ln w="19050">
              <a:noFill/>
              <a:headEnd type="none" w="med" len="med"/>
              <a:tailEnd type="none" w="med" len="med"/>
            </a:ln>
            <a:effectLst>
              <a:softEdge rad="0"/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27000" tIns="27000" rIns="27000" bIns="2700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defTabSz="914400"/>
              <a:r>
                <a:rPr lang="en-US" sz="12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elligent alerting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F4A78641-594F-A446-9340-2EBD75761528}"/>
                </a:ext>
              </a:extLst>
            </p:cNvPr>
            <p:cNvSpPr/>
            <p:nvPr/>
          </p:nvSpPr>
          <p:spPr>
            <a:xfrm>
              <a:off x="6431355" y="4173469"/>
              <a:ext cx="1910362" cy="477274"/>
            </a:xfrm>
            <a:prstGeom prst="rect">
              <a:avLst/>
            </a:prstGeom>
            <a:noFill/>
            <a:ln w="19050">
              <a:noFill/>
              <a:headEnd type="none" w="med" len="med"/>
              <a:tailEnd type="none" w="med" len="med"/>
            </a:ln>
            <a:effectLst>
              <a:softEdge rad="0"/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27000" tIns="27000" rIns="27000" bIns="2700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defTabSz="914400"/>
              <a:r>
                <a:rPr lang="en-US" sz="12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tributed tracing</a:t>
              </a:r>
            </a:p>
          </p:txBody>
        </p: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2481360C-EF9C-FF41-88DA-A42AC08658DE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425447" y="4271234"/>
              <a:ext cx="0" cy="300524"/>
            </a:xfrm>
            <a:prstGeom prst="line">
              <a:avLst/>
            </a:prstGeom>
            <a:ln w="3175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E47B45F-5D94-3D4C-9C4E-0DE755F9539D}"/>
              </a:ext>
            </a:extLst>
          </p:cNvPr>
          <p:cNvGrpSpPr/>
          <p:nvPr/>
        </p:nvGrpSpPr>
        <p:grpSpPr>
          <a:xfrm>
            <a:off x="1132684" y="1059764"/>
            <a:ext cx="6878633" cy="2911681"/>
            <a:chOff x="3364489" y="1024963"/>
            <a:chExt cx="5293879" cy="2911681"/>
          </a:xfrm>
        </p:grpSpPr>
        <p:sp>
          <p:nvSpPr>
            <p:cNvPr id="21" name="Rectangle 3">
              <a:extLst>
                <a:ext uri="{FF2B5EF4-FFF2-40B4-BE49-F238E27FC236}">
                  <a16:creationId xmlns:a16="http://schemas.microsoft.com/office/drawing/2014/main" id="{BAA4263E-AEB2-734F-A473-2CB2DD471BF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364489" y="1024963"/>
              <a:ext cx="3469405" cy="73152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en-US" sz="1200" kern="0" dirty="0">
                  <a:latin typeface="Arial" panose="020B0604020202020204" pitchFamily="34" charset="0"/>
                  <a:cs typeface="Arial" panose="020B0604020202020204" pitchFamily="34" charset="0"/>
                </a:rPr>
                <a:t>Stan’s Robot Shop uses Instana to continually monitor the performance of its microservices-based e-commerce application.</a:t>
              </a:r>
            </a:p>
          </p:txBody>
        </p:sp>
        <p:sp>
          <p:nvSpPr>
            <p:cNvPr id="22" name="Rectangle 3">
              <a:extLst>
                <a:ext uri="{FF2B5EF4-FFF2-40B4-BE49-F238E27FC236}">
                  <a16:creationId xmlns:a16="http://schemas.microsoft.com/office/drawing/2014/main" id="{E4717E9D-643D-B147-8BFE-08CC3B34CCF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5188196" y="3205124"/>
              <a:ext cx="3470172" cy="7315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y bring the database back online and use </a:t>
              </a:r>
              <a:r>
                <a:rPr lang="en-US" sz="1200" kern="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tana</a:t>
              </a: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o prove that the application is once again working as expected.</a:t>
              </a:r>
            </a:p>
          </p:txBody>
        </p:sp>
        <p:sp>
          <p:nvSpPr>
            <p:cNvPr id="25" name="Rectangle 3">
              <a:extLst>
                <a:ext uri="{FF2B5EF4-FFF2-40B4-BE49-F238E27FC236}">
                  <a16:creationId xmlns:a16="http://schemas.microsoft.com/office/drawing/2014/main" id="{CA00DECB-EE27-CA47-B755-F834E7B2BAF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580293" y="2478841"/>
              <a:ext cx="3469405" cy="73152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 IT Ops team uses </a:t>
              </a:r>
              <a:r>
                <a:rPr lang="en-US" sz="1200" kern="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tana</a:t>
              </a: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o discover that the root cause of the problem is an abnormal termination of one of its databases. </a:t>
              </a:r>
              <a:r>
                <a:rPr lang="en-US" sz="1200" kern="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tana</a:t>
              </a: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also shows how the error propagated up the call stack.</a:t>
              </a:r>
            </a:p>
          </p:txBody>
        </p:sp>
        <p:sp>
          <p:nvSpPr>
            <p:cNvPr id="26" name="Rectangle 3">
              <a:extLst>
                <a:ext uri="{FF2B5EF4-FFF2-40B4-BE49-F238E27FC236}">
                  <a16:creationId xmlns:a16="http://schemas.microsoft.com/office/drawing/2014/main" id="{3852D8F4-9A7C-174B-823F-C4A9FDED878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972391" y="1752559"/>
              <a:ext cx="3469405" cy="73152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wrap="square" anchor="ctr">
              <a:no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2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Instana</a:t>
              </a:r>
              <a:r>
                <a:rPr lang="en-US" sz="1200" kern="0" dirty="0">
                  <a:latin typeface="Arial" panose="020B0604020202020204" pitchFamily="34" charset="0"/>
                  <a:cs typeface="Arial" panose="020B0604020202020204" pitchFamily="34" charset="0"/>
                </a:rPr>
                <a:t> sends an alert indicating there is an increase in the number of erroneous calls on the application’s ‘Discount’ service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199137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 descr="A picture containing blur&#10;&#10;Description automatically generated">
            <a:extLst>
              <a:ext uri="{FF2B5EF4-FFF2-40B4-BE49-F238E27FC236}">
                <a16:creationId xmlns:a16="http://schemas.microsoft.com/office/drawing/2014/main" id="{CED57069-C646-A5DF-3A0F-DC90F3CBBCDA}"/>
              </a:ext>
            </a:extLst>
          </p:cNvPr>
          <p:cNvPicPr>
            <a:picLocks noChangeAspect="1"/>
          </p:cNvPicPr>
          <p:nvPr/>
        </p:nvPicPr>
        <p:blipFill>
          <a:blip r:embed="rId12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28" name="Picture 27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E7A64F59-03EB-E135-FE86-0A4239C3491D}"/>
              </a:ext>
            </a:extLst>
          </p:cNvPr>
          <p:cNvPicPr>
            <a:picLocks noChangeAspect="1"/>
          </p:cNvPicPr>
          <p:nvPr/>
        </p:nvPicPr>
        <p:blipFill>
          <a:blip r:embed="rId13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9"/>
            <a:ext cx="8705022" cy="302708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 flow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E545A05-844D-F893-FC33-F7CF7AF9D940}"/>
              </a:ext>
            </a:extLst>
          </p:cNvPr>
          <p:cNvGrpSpPr/>
          <p:nvPr/>
        </p:nvGrpSpPr>
        <p:grpSpPr>
          <a:xfrm>
            <a:off x="1128697" y="904666"/>
            <a:ext cx="6886607" cy="3694945"/>
            <a:chOff x="1128697" y="941011"/>
            <a:chExt cx="6886607" cy="3694945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B63F996B-5E95-4D46-B53C-FCF10FC1A669}"/>
                </a:ext>
              </a:extLst>
            </p:cNvPr>
            <p:cNvGrpSpPr/>
            <p:nvPr/>
          </p:nvGrpSpPr>
          <p:grpSpPr>
            <a:xfrm>
              <a:off x="1128697" y="945224"/>
              <a:ext cx="1828799" cy="1694237"/>
              <a:chOff x="-5328" y="3121514"/>
              <a:chExt cx="2337808" cy="1694237"/>
            </a:xfrm>
          </p:grpSpPr>
          <p:sp>
            <p:nvSpPr>
              <p:cNvPr id="8" name="Rectangle 3">
                <a:extLst>
                  <a:ext uri="{FF2B5EF4-FFF2-40B4-BE49-F238E27FC236}">
                    <a16:creationId xmlns:a16="http://schemas.microsoft.com/office/drawing/2014/main" id="{1F13DFAD-69BD-FC4B-805F-A21C2507EF68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-5328" y="3121514"/>
                <a:ext cx="2337808" cy="519548"/>
              </a:xfrm>
              <a:prstGeom prst="rect">
                <a:avLst/>
              </a:prstGeom>
              <a:solidFill>
                <a:srgbClr val="0F62FE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defRPr/>
                </a:pPr>
                <a:r>
                  <a:rPr lang="en-US" altLang="ja-JP" sz="1200" kern="0" dirty="0">
                    <a:solidFill>
                      <a:srgbClr val="FFFFFF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ccess the application’s performance metrics</a:t>
                </a:r>
              </a:p>
            </p:txBody>
          </p:sp>
          <p:sp>
            <p:nvSpPr>
              <p:cNvPr id="9" name="Rectangle 4">
                <a:extLst>
                  <a:ext uri="{FF2B5EF4-FFF2-40B4-BE49-F238E27FC236}">
                    <a16:creationId xmlns:a16="http://schemas.microsoft.com/office/drawing/2014/main" id="{CE41BB34-7C40-7E4B-9E2D-D3F38AF950DB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-5325" y="3632637"/>
                <a:ext cx="2337110" cy="1183114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91440" anchor="t"/>
              <a:lstStyle>
                <a:lvl1pPr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tabLst>
                    <a:tab pos="1489094" algn="l"/>
                  </a:tabLst>
                  <a:defRPr/>
                </a:pPr>
                <a:endParaRPr lang="en-GB" altLang="ja-JP" sz="1200" b="1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algn="ctr" defTabSz="685808">
                  <a:tabLst>
                    <a:tab pos="1489094" algn="l"/>
                  </a:tabLst>
                  <a:defRPr/>
                </a:pPr>
                <a:r>
                  <a:rPr lang="en-GB" altLang="ja-JP" sz="1200" kern="0" dirty="0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Use </a:t>
                </a:r>
                <a:r>
                  <a:rPr lang="en-GB" altLang="ja-JP" sz="1200" kern="0" dirty="0" err="1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stana</a:t>
                </a:r>
                <a:r>
                  <a:rPr lang="en-GB" altLang="ja-JP" sz="1200" kern="0" dirty="0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to access </a:t>
                </a:r>
                <a:r>
                  <a:rPr lang="en-GB" altLang="ja-JP" sz="1200" kern="0" dirty="0" err="1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RobotShop’s</a:t>
                </a:r>
                <a:r>
                  <a:rPr lang="en-GB" altLang="ja-JP" sz="1200" kern="0" dirty="0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alerts, events, and dependencies</a:t>
                </a:r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9228875B-5713-2C4F-AEA2-F532D8B88F4F}"/>
                </a:ext>
              </a:extLst>
            </p:cNvPr>
            <p:cNvGrpSpPr/>
            <p:nvPr/>
          </p:nvGrpSpPr>
          <p:grpSpPr>
            <a:xfrm>
              <a:off x="3657599" y="943118"/>
              <a:ext cx="1828801" cy="1698449"/>
              <a:chOff x="2016283" y="1764942"/>
              <a:chExt cx="2337809" cy="1698449"/>
            </a:xfrm>
          </p:grpSpPr>
          <p:sp>
            <p:nvSpPr>
              <p:cNvPr id="23" name="Rectangle 3">
                <a:extLst>
                  <a:ext uri="{FF2B5EF4-FFF2-40B4-BE49-F238E27FC236}">
                    <a16:creationId xmlns:a16="http://schemas.microsoft.com/office/drawing/2014/main" id="{9B280A5F-18FE-3E43-8B97-CDE8D51B0FD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2016283" y="1764942"/>
                <a:ext cx="2337807" cy="519547"/>
              </a:xfrm>
              <a:prstGeom prst="rect">
                <a:avLst/>
              </a:prstGeom>
              <a:solidFill>
                <a:srgbClr val="0F62FE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defRPr/>
                </a:pPr>
                <a:r>
                  <a:rPr lang="en-US" altLang="ja-JP" sz="1200" kern="0" dirty="0">
                    <a:solidFill>
                      <a:srgbClr val="FFFFFF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Gather information</a:t>
                </a:r>
              </a:p>
            </p:txBody>
          </p:sp>
          <p:sp>
            <p:nvSpPr>
              <p:cNvPr id="24" name="Rectangle 4">
                <a:extLst>
                  <a:ext uri="{FF2B5EF4-FFF2-40B4-BE49-F238E27FC236}">
                    <a16:creationId xmlns:a16="http://schemas.microsoft.com/office/drawing/2014/main" id="{DCF49236-97C3-D64F-A92A-7A9663ADA4B9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2016284" y="2284489"/>
                <a:ext cx="2337808" cy="1178902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91440" anchor="t"/>
              <a:lstStyle>
                <a:lvl1pPr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tabLst>
                    <a:tab pos="1489094" algn="l"/>
                  </a:tabLst>
                  <a:defRPr/>
                </a:pPr>
                <a:endParaRPr lang="en-GB" altLang="ja-JP" sz="1200" b="1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algn="ctr" defTabSz="685808">
                  <a:tabLst>
                    <a:tab pos="1489094" algn="l"/>
                  </a:tabLst>
                  <a:defRPr/>
                </a:pPr>
                <a:r>
                  <a:rPr lang="en-GB" altLang="ja-JP" sz="1200" kern="0" dirty="0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spect auto-</a:t>
                </a:r>
                <a:br>
                  <a:rPr lang="en-GB" altLang="ja-JP" sz="1200" kern="0" dirty="0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GB" altLang="ja-JP" sz="1200" kern="0" dirty="0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orrelated incident</a:t>
                </a:r>
                <a:br>
                  <a:rPr lang="en-GB" altLang="ja-JP" sz="1200" kern="0" dirty="0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GB" altLang="ja-JP" sz="1200" kern="0" dirty="0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etails</a:t>
                </a:r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4436F63D-74C7-E54E-86F0-F262D838D463}"/>
                </a:ext>
              </a:extLst>
            </p:cNvPr>
            <p:cNvGrpSpPr/>
            <p:nvPr/>
          </p:nvGrpSpPr>
          <p:grpSpPr>
            <a:xfrm>
              <a:off x="6186504" y="941011"/>
              <a:ext cx="1828800" cy="1702662"/>
              <a:chOff x="3497729" y="1764942"/>
              <a:chExt cx="2181954" cy="1702662"/>
            </a:xfrm>
          </p:grpSpPr>
          <p:sp>
            <p:nvSpPr>
              <p:cNvPr id="25" name="Rectangle 3">
                <a:extLst>
                  <a:ext uri="{FF2B5EF4-FFF2-40B4-BE49-F238E27FC236}">
                    <a16:creationId xmlns:a16="http://schemas.microsoft.com/office/drawing/2014/main" id="{D22060B1-2A09-714B-A299-B99F4946E8AE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497729" y="1764942"/>
                <a:ext cx="2181952" cy="520737"/>
              </a:xfrm>
              <a:prstGeom prst="rect">
                <a:avLst/>
              </a:prstGeom>
              <a:solidFill>
                <a:srgbClr val="0F62FE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defRPr/>
                </a:pPr>
                <a:r>
                  <a:rPr lang="en-US" altLang="ja-JP" sz="1200" kern="0" dirty="0">
                    <a:solidFill>
                      <a:srgbClr val="FFFFFF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Understand the incident</a:t>
                </a:r>
              </a:p>
            </p:txBody>
          </p:sp>
          <p:sp>
            <p:nvSpPr>
              <p:cNvPr id="26" name="Rectangle 4">
                <a:extLst>
                  <a:ext uri="{FF2B5EF4-FFF2-40B4-BE49-F238E27FC236}">
                    <a16:creationId xmlns:a16="http://schemas.microsoft.com/office/drawing/2014/main" id="{C0DF3D78-1210-3F42-BFE5-5FEFF72DF720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3497729" y="2292914"/>
                <a:ext cx="2181954" cy="1174690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91440" anchor="t"/>
              <a:lstStyle>
                <a:lvl1pPr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tabLst>
                    <a:tab pos="1489094" algn="l"/>
                  </a:tabLst>
                  <a:defRPr/>
                </a:pPr>
                <a:endPara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algn="ctr" defTabSz="685808">
                  <a:tabLst>
                    <a:tab pos="1489094" algn="l"/>
                  </a:tabLst>
                  <a:defRPr/>
                </a:pPr>
                <a:r>
                  <a:rPr lang="en-GB" altLang="ja-JP" sz="1200" kern="0" dirty="0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ebug the</a:t>
                </a:r>
                <a:br>
                  <a:rPr lang="en-GB" altLang="ja-JP" sz="1200" kern="0" dirty="0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GB" altLang="ja-JP" sz="1200" kern="0" dirty="0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cident by inspecting</a:t>
                </a:r>
                <a:br>
                  <a:rPr lang="en-GB" altLang="ja-JP" sz="1200" kern="0" dirty="0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GB" altLang="ja-JP" sz="1200" kern="0" dirty="0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alls</a:t>
                </a:r>
              </a:p>
            </p:txBody>
          </p:sp>
        </p:grpSp>
        <p:sp>
          <p:nvSpPr>
            <p:cNvPr id="6" name="Right Arrow 5">
              <a:extLst>
                <a:ext uri="{FF2B5EF4-FFF2-40B4-BE49-F238E27FC236}">
                  <a16:creationId xmlns:a16="http://schemas.microsoft.com/office/drawing/2014/main" id="{308772FF-5C22-0949-9B77-ECD7469501CB}"/>
                </a:ext>
              </a:extLst>
            </p:cNvPr>
            <p:cNvSpPr/>
            <p:nvPr/>
          </p:nvSpPr>
          <p:spPr bwMode="auto">
            <a:xfrm>
              <a:off x="3062849" y="1605599"/>
              <a:ext cx="489397" cy="373487"/>
            </a:xfrm>
            <a:prstGeom prst="rightArrow">
              <a:avLst/>
            </a:prstGeom>
            <a:solidFill>
              <a:schemeClr val="bg2">
                <a:lumMod val="90000"/>
              </a:schemeClr>
            </a:solidFill>
            <a:ln w="19050">
              <a:solidFill>
                <a:schemeClr val="bg2">
                  <a:lumMod val="9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endParaRPr kumimoji="0" lang="en-US" sz="1400" b="0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n-lt"/>
              </a:endParaRPr>
            </a:p>
          </p:txBody>
        </p:sp>
        <p:sp>
          <p:nvSpPr>
            <p:cNvPr id="22" name="Right Arrow 21">
              <a:extLst>
                <a:ext uri="{FF2B5EF4-FFF2-40B4-BE49-F238E27FC236}">
                  <a16:creationId xmlns:a16="http://schemas.microsoft.com/office/drawing/2014/main" id="{C4216C5F-D81F-EF41-8F06-95473350260F}"/>
                </a:ext>
              </a:extLst>
            </p:cNvPr>
            <p:cNvSpPr/>
            <p:nvPr/>
          </p:nvSpPr>
          <p:spPr bwMode="auto">
            <a:xfrm>
              <a:off x="5591753" y="1605599"/>
              <a:ext cx="489397" cy="373487"/>
            </a:xfrm>
            <a:prstGeom prst="rightArrow">
              <a:avLst/>
            </a:prstGeom>
            <a:solidFill>
              <a:schemeClr val="bg2">
                <a:lumMod val="90000"/>
              </a:schemeClr>
            </a:solidFill>
            <a:ln w="19050">
              <a:solidFill>
                <a:schemeClr val="bg2">
                  <a:lumMod val="9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endParaRPr kumimoji="0" lang="en-US" sz="1400" b="0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n-lt"/>
              </a:endParaRP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27AEA654-E50D-C92F-5753-E8E1A6EA46BB}"/>
                </a:ext>
              </a:extLst>
            </p:cNvPr>
            <p:cNvGrpSpPr/>
            <p:nvPr/>
          </p:nvGrpSpPr>
          <p:grpSpPr>
            <a:xfrm>
              <a:off x="2392229" y="2929596"/>
              <a:ext cx="1828800" cy="1706360"/>
              <a:chOff x="2392229" y="2651889"/>
              <a:chExt cx="1828800" cy="1706360"/>
            </a:xfrm>
          </p:grpSpPr>
          <p:sp>
            <p:nvSpPr>
              <p:cNvPr id="30" name="Rectangle 3">
                <a:extLst>
                  <a:ext uri="{FF2B5EF4-FFF2-40B4-BE49-F238E27FC236}">
                    <a16:creationId xmlns:a16="http://schemas.microsoft.com/office/drawing/2014/main" id="{BFEE4C56-419A-E84C-BBAB-057789204EC4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2392229" y="2651889"/>
                <a:ext cx="1828799" cy="519548"/>
              </a:xfrm>
              <a:prstGeom prst="rect">
                <a:avLst/>
              </a:prstGeom>
              <a:solidFill>
                <a:srgbClr val="0F62FE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defRPr/>
                </a:pPr>
                <a:r>
                  <a:rPr lang="en-US" altLang="ja-JP" sz="1200" kern="0" dirty="0">
                    <a:solidFill>
                      <a:srgbClr val="FFFFFF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Repair the problem</a:t>
                </a:r>
              </a:p>
            </p:txBody>
          </p:sp>
          <p:sp>
            <p:nvSpPr>
              <p:cNvPr id="32" name="Rectangle 4">
                <a:extLst>
                  <a:ext uri="{FF2B5EF4-FFF2-40B4-BE49-F238E27FC236}">
                    <a16:creationId xmlns:a16="http://schemas.microsoft.com/office/drawing/2014/main" id="{152E9637-FC02-FF43-8151-2DF4865946A4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2392230" y="3178673"/>
                <a:ext cx="1828799" cy="1179576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91440" anchor="t"/>
              <a:lstStyle>
                <a:lvl1pPr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tabLst>
                    <a:tab pos="1489094" algn="l"/>
                  </a:tabLst>
                  <a:defRPr/>
                </a:pPr>
                <a:endParaRPr lang="en-GB" altLang="ja-JP" sz="1200" b="1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lvl="0" algn="ctr" defTabSz="685808">
                  <a:tabLst>
                    <a:tab pos="1489094" algn="l"/>
                  </a:tabLst>
                  <a:defRPr/>
                </a:pPr>
                <a:r>
                  <a:rPr lang="en-GB" altLang="ja-JP" sz="1200" kern="0" dirty="0">
                    <a:solidFill>
                      <a:srgbClr val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onfirm the</a:t>
                </a:r>
                <a:br>
                  <a:rPr lang="en-GB" altLang="ja-JP" sz="1200" kern="0" dirty="0">
                    <a:solidFill>
                      <a:srgbClr val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GB" altLang="ja-JP" sz="1200" kern="0" dirty="0">
                    <a:solidFill>
                      <a:srgbClr val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cident resolution</a:t>
                </a:r>
                <a:br>
                  <a:rPr lang="en-GB" altLang="ja-JP" sz="1200" kern="0" dirty="0">
                    <a:solidFill>
                      <a:srgbClr val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GB" altLang="ja-JP" sz="1200" kern="0" dirty="0">
                    <a:solidFill>
                      <a:srgbClr val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was successful</a:t>
                </a:r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00AC4646-41E3-B0A2-1484-80D26E752C35}"/>
                </a:ext>
              </a:extLst>
            </p:cNvPr>
            <p:cNvGrpSpPr/>
            <p:nvPr/>
          </p:nvGrpSpPr>
          <p:grpSpPr>
            <a:xfrm>
              <a:off x="4922970" y="2933215"/>
              <a:ext cx="1828801" cy="1699123"/>
              <a:chOff x="4922970" y="2647466"/>
              <a:chExt cx="1828801" cy="1699123"/>
            </a:xfrm>
          </p:grpSpPr>
          <p:sp>
            <p:nvSpPr>
              <p:cNvPr id="35" name="Rectangle 3">
                <a:extLst>
                  <a:ext uri="{FF2B5EF4-FFF2-40B4-BE49-F238E27FC236}">
                    <a16:creationId xmlns:a16="http://schemas.microsoft.com/office/drawing/2014/main" id="{9B5082C3-5FFE-8849-8E57-27732AACE785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4922970" y="2647466"/>
                <a:ext cx="1828797" cy="519547"/>
              </a:xfrm>
              <a:prstGeom prst="rect">
                <a:avLst/>
              </a:prstGeom>
              <a:solidFill>
                <a:srgbClr val="0F62FE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defRPr/>
                </a:pPr>
                <a:r>
                  <a:rPr lang="en-US" altLang="ja-JP" sz="1200" kern="0" dirty="0">
                    <a:solidFill>
                      <a:srgbClr val="FFFFFF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xamine the details</a:t>
                </a:r>
              </a:p>
            </p:txBody>
          </p:sp>
          <p:sp>
            <p:nvSpPr>
              <p:cNvPr id="36" name="Rectangle 4">
                <a:extLst>
                  <a:ext uri="{FF2B5EF4-FFF2-40B4-BE49-F238E27FC236}">
                    <a16:creationId xmlns:a16="http://schemas.microsoft.com/office/drawing/2014/main" id="{975AEB0C-5251-D44E-9BAE-3A1C99610320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4922971" y="3167013"/>
                <a:ext cx="1828800" cy="1179576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91440" anchor="t"/>
              <a:lstStyle>
                <a:lvl1pPr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tabLst>
                    <a:tab pos="1489094" algn="l"/>
                  </a:tabLst>
                  <a:defRPr/>
                </a:pPr>
                <a:endParaRPr lang="en-GB" altLang="ja-JP" sz="1200" b="1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lvl="0" algn="ctr" defTabSz="685808">
                  <a:tabLst>
                    <a:tab pos="1489094" algn="l"/>
                  </a:tabLst>
                  <a:defRPr/>
                </a:pPr>
                <a:r>
                  <a:rPr lang="en-GB" altLang="ja-JP" sz="1200" kern="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rill down with</a:t>
                </a:r>
                <a:br>
                  <a:rPr lang="en-GB" altLang="ja-JP" sz="1200" kern="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GB" altLang="ja-JP" sz="1200" kern="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end-to-end traces</a:t>
                </a:r>
              </a:p>
            </p:txBody>
          </p:sp>
        </p:grpSp>
        <p:sp>
          <p:nvSpPr>
            <p:cNvPr id="37" name="Right Arrow 36">
              <a:extLst>
                <a:ext uri="{FF2B5EF4-FFF2-40B4-BE49-F238E27FC236}">
                  <a16:creationId xmlns:a16="http://schemas.microsoft.com/office/drawing/2014/main" id="{B7F6E0F8-2A58-1547-AD9F-558CEFEA4F00}"/>
                </a:ext>
              </a:extLst>
            </p:cNvPr>
            <p:cNvSpPr/>
            <p:nvPr/>
          </p:nvSpPr>
          <p:spPr bwMode="auto">
            <a:xfrm flipH="1">
              <a:off x="4327301" y="3596033"/>
              <a:ext cx="489397" cy="373487"/>
            </a:xfrm>
            <a:prstGeom prst="rightArrow">
              <a:avLst/>
            </a:prstGeom>
            <a:solidFill>
              <a:schemeClr val="bg2">
                <a:lumMod val="90000"/>
              </a:schemeClr>
            </a:solidFill>
            <a:ln w="19050">
              <a:solidFill>
                <a:schemeClr val="bg2">
                  <a:lumMod val="9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endParaRPr kumimoji="0" lang="en-US" sz="1400" b="0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n-lt"/>
              </a:endParaRP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B3175DF8-4AC4-2741-A6B4-AFD26636387B}"/>
                </a:ext>
              </a:extLst>
            </p:cNvPr>
            <p:cNvGrpSpPr/>
            <p:nvPr/>
          </p:nvGrpSpPr>
          <p:grpSpPr>
            <a:xfrm>
              <a:off x="6858040" y="3337110"/>
              <a:ext cx="643701" cy="632410"/>
              <a:chOff x="6674454" y="2969524"/>
              <a:chExt cx="643701" cy="632410"/>
            </a:xfrm>
          </p:grpSpPr>
          <p:sp>
            <p:nvSpPr>
              <p:cNvPr id="39" name="Right Arrow 38">
                <a:extLst>
                  <a:ext uri="{FF2B5EF4-FFF2-40B4-BE49-F238E27FC236}">
                    <a16:creationId xmlns:a16="http://schemas.microsoft.com/office/drawing/2014/main" id="{88DD8C47-FBC7-F84C-B7CF-1BE9FDC1A8D3}"/>
                  </a:ext>
                </a:extLst>
              </p:cNvPr>
              <p:cNvSpPr/>
              <p:nvPr/>
            </p:nvSpPr>
            <p:spPr bwMode="auto">
              <a:xfrm flipH="1">
                <a:off x="6674454" y="3228447"/>
                <a:ext cx="489397" cy="373487"/>
              </a:xfrm>
              <a:prstGeom prst="rightArrow">
                <a:avLst/>
              </a:prstGeom>
              <a:solidFill>
                <a:schemeClr val="bg2">
                  <a:lumMod val="90000"/>
                </a:schemeClr>
              </a:solidFill>
              <a:ln w="19050">
                <a:solidFill>
                  <a:schemeClr val="bg2">
                    <a:lumMod val="90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vert="horz" wrap="square" lIns="91440" tIns="91440" rIns="91440" bIns="9144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System Font Regular"/>
                  <a:buNone/>
                  <a:tabLst/>
                </a:pPr>
                <a:endParaRPr kumimoji="0" lang="en-US" sz="1400" b="0" i="0" u="none" strike="noStrike" cap="none" normalizeH="0" baseline="0" dirty="0">
                  <a:ln>
                    <a:noFill/>
                  </a:ln>
                  <a:solidFill>
                    <a:schemeClr val="accent2"/>
                  </a:solidFill>
                  <a:effectLst/>
                  <a:latin typeface="+mn-lt"/>
                </a:endParaRP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3EEAC205-CCD9-2A40-8E6B-F4909499AF1B}"/>
                  </a:ext>
                </a:extLst>
              </p:cNvPr>
              <p:cNvSpPr/>
              <p:nvPr/>
            </p:nvSpPr>
            <p:spPr bwMode="auto">
              <a:xfrm>
                <a:off x="7135275" y="2969524"/>
                <a:ext cx="182880" cy="5486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19050">
                <a:noFill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vert="horz" wrap="square" lIns="91440" tIns="91440" rIns="91440" bIns="9144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System Font Regular"/>
                  <a:buNone/>
                  <a:tabLst/>
                </a:pPr>
                <a:endParaRPr kumimoji="0" lang="en-US" sz="14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330583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picture containing blur&#10;&#10;Description automatically generated">
            <a:extLst>
              <a:ext uri="{FF2B5EF4-FFF2-40B4-BE49-F238E27FC236}">
                <a16:creationId xmlns:a16="http://schemas.microsoft.com/office/drawing/2014/main" id="{9A5C8C67-4CD7-0D11-B92B-22FAF8DBC854}"/>
              </a:ext>
            </a:extLst>
          </p:cNvPr>
          <p:cNvPicPr>
            <a:picLocks noChangeAspect="1"/>
          </p:cNvPicPr>
          <p:nvPr/>
        </p:nvPicPr>
        <p:blipFill>
          <a:blip r:embed="rId12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29" name="Picture 28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D59AB38A-58B6-852D-3BC3-B08EF1CC27EA}"/>
              </a:ext>
            </a:extLst>
          </p:cNvPr>
          <p:cNvPicPr>
            <a:picLocks noChangeAspect="1"/>
          </p:cNvPicPr>
          <p:nvPr/>
        </p:nvPicPr>
        <p:blipFill>
          <a:blip r:embed="rId13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6210586" cy="369057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 components</a:t>
            </a:r>
            <a:b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154063D-A07D-9A1E-8F76-23E2D155560D}"/>
              </a:ext>
            </a:extLst>
          </p:cNvPr>
          <p:cNvGrpSpPr/>
          <p:nvPr/>
        </p:nvGrpSpPr>
        <p:grpSpPr>
          <a:xfrm>
            <a:off x="749643" y="1486208"/>
            <a:ext cx="7644714" cy="2171084"/>
            <a:chOff x="832021" y="1264094"/>
            <a:chExt cx="7644714" cy="2171084"/>
          </a:xfrm>
        </p:grpSpPr>
        <p:sp>
          <p:nvSpPr>
            <p:cNvPr id="9" name="Rectangle 4">
              <a:extLst>
                <a:ext uri="{FF2B5EF4-FFF2-40B4-BE49-F238E27FC236}">
                  <a16:creationId xmlns:a16="http://schemas.microsoft.com/office/drawing/2014/main" id="{CE41BB34-7C40-7E4B-9E2D-D3F38AF950D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832021" y="1264094"/>
              <a:ext cx="7644714" cy="2171084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200" b="1" kern="0" dirty="0">
                <a:latin typeface="+mn-lt"/>
                <a:ea typeface="+mn-ea"/>
              </a:endParaRP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AB140DE5-3E01-9E17-8D05-424DB3430BDD}"/>
                </a:ext>
              </a:extLst>
            </p:cNvPr>
            <p:cNvGrpSpPr/>
            <p:nvPr/>
          </p:nvGrpSpPr>
          <p:grpSpPr>
            <a:xfrm>
              <a:off x="1103711" y="1554537"/>
              <a:ext cx="7101335" cy="1590199"/>
              <a:chOff x="1080768" y="1556656"/>
              <a:chExt cx="7101335" cy="1590199"/>
            </a:xfrm>
          </p:grpSpPr>
          <p:grpSp>
            <p:nvGrpSpPr>
              <p:cNvPr id="7" name="Group 6">
                <a:extLst>
                  <a:ext uri="{FF2B5EF4-FFF2-40B4-BE49-F238E27FC236}">
                    <a16:creationId xmlns:a16="http://schemas.microsoft.com/office/drawing/2014/main" id="{AE6B6574-DE69-19AF-1851-CA4B3D55ED4D}"/>
                  </a:ext>
                </a:extLst>
              </p:cNvPr>
              <p:cNvGrpSpPr/>
              <p:nvPr/>
            </p:nvGrpSpPr>
            <p:grpSpPr>
              <a:xfrm>
                <a:off x="3495620" y="1556877"/>
                <a:ext cx="2267712" cy="1589978"/>
                <a:chOff x="3497580" y="1556877"/>
                <a:chExt cx="2267712" cy="1589978"/>
              </a:xfrm>
            </p:grpSpPr>
            <p:sp>
              <p:nvSpPr>
                <p:cNvPr id="19" name="Rectangle 3">
                  <a:extLst>
                    <a:ext uri="{FF2B5EF4-FFF2-40B4-BE49-F238E27FC236}">
                      <a16:creationId xmlns:a16="http://schemas.microsoft.com/office/drawing/2014/main" id="{73F44035-9D10-7247-9529-2BEE7AA078BB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8"/>
                  </p:custDataLst>
                </p:nvPr>
              </p:nvSpPr>
              <p:spPr bwMode="auto">
                <a:xfrm>
                  <a:off x="3497580" y="1556877"/>
                  <a:ext cx="2267712" cy="1589978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 wrap="square" anchor="t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0" lvl="1" indent="0" algn="ctr" defTabSz="914400" fontAlgn="base">
                    <a:spcBef>
                      <a:spcPts val="1100"/>
                    </a:spcBef>
                    <a:spcAft>
                      <a:spcPct val="0"/>
                    </a:spcAft>
                    <a:buClr>
                      <a:schemeClr val="bg1"/>
                    </a:buClr>
                    <a:buSzPct val="100000"/>
                  </a:pPr>
                  <a:br>
                    <a:rPr lang="en-US" sz="10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</a:br>
                  <a:r>
                    <a:rPr lang="en-US" sz="1200" b="1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telligent</a:t>
                  </a:r>
                  <a:br>
                    <a:rPr lang="en-US" sz="1200" b="1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</a:br>
                  <a:r>
                    <a:rPr lang="en-US" sz="1200" b="1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alerting</a:t>
                  </a:r>
                  <a:endParaRPr lang="en-US" sz="1100" b="1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" name="Group 1">
                  <a:extLst>
                    <a:ext uri="{FF2B5EF4-FFF2-40B4-BE49-F238E27FC236}">
                      <a16:creationId xmlns:a16="http://schemas.microsoft.com/office/drawing/2014/main" id="{AD55C0D2-E77D-854F-8976-C1DEB6AB7678}"/>
                    </a:ext>
                  </a:extLst>
                </p:cNvPr>
                <p:cNvGrpSpPr/>
                <p:nvPr/>
              </p:nvGrpSpPr>
              <p:grpSpPr>
                <a:xfrm>
                  <a:off x="3595515" y="2333454"/>
                  <a:ext cx="2071843" cy="568320"/>
                  <a:chOff x="1113592" y="3870904"/>
                  <a:chExt cx="2071843" cy="568320"/>
                </a:xfrm>
              </p:grpSpPr>
              <p:sp>
                <p:nvSpPr>
                  <p:cNvPr id="20" name="Rectangle 3">
                    <a:extLst>
                      <a:ext uri="{FF2B5EF4-FFF2-40B4-BE49-F238E27FC236}">
                        <a16:creationId xmlns:a16="http://schemas.microsoft.com/office/drawing/2014/main" id="{7E9D7F50-8D03-E94B-9004-37FD0230508F}"/>
                      </a:ext>
                      <a:ext uri="{C183D7F6-B498-43B3-948B-1728B52AA6E4}">
                        <adec:decorative xmlns:adec="http://schemas.microsoft.com/office/drawing/2017/decorative" val="1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9"/>
                    </p:custDataLst>
                  </p:nvPr>
                </p:nvSpPr>
                <p:spPr bwMode="auto">
                  <a:xfrm>
                    <a:off x="2185078" y="3870904"/>
                    <a:ext cx="1000357" cy="568320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wrap="square" anchor="ctr"/>
                  <a:lstStyle>
                    <a:lvl1pPr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1pPr>
                    <a:lvl2pPr marL="742950" indent="-28575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2pPr>
                    <a:lvl3pPr marL="1143000" indent="-22860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3pPr>
                    <a:lvl4pPr marL="1600200" indent="-22860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4pPr>
                    <a:lvl5pPr marL="2057400" indent="-22860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9pPr>
                  </a:lstStyle>
                  <a:p>
                    <a:pPr marL="0" lvl="1" indent="0" algn="ctr" defTabSz="914400" fontAlgn="base">
                      <a:spcBef>
                        <a:spcPts val="1100"/>
                      </a:spcBef>
                      <a:spcAft>
                        <a:spcPct val="0"/>
                      </a:spcAft>
                      <a:buClr>
                        <a:schemeClr val="bg1"/>
                      </a:buClr>
                      <a:buSzPct val="100000"/>
                    </a:pPr>
                    <a:r>
                      <a:rPr lang="en-US" sz="1100" kern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Incident detection</a:t>
                    </a:r>
                  </a:p>
                </p:txBody>
              </p:sp>
              <p:sp>
                <p:nvSpPr>
                  <p:cNvPr id="21" name="Rectangle 3">
                    <a:extLst>
                      <a:ext uri="{FF2B5EF4-FFF2-40B4-BE49-F238E27FC236}">
                        <a16:creationId xmlns:a16="http://schemas.microsoft.com/office/drawing/2014/main" id="{FFEDE4F3-FAA3-AB41-9463-1E765DE36314}"/>
                      </a:ext>
                      <a:ext uri="{C183D7F6-B498-43B3-948B-1728B52AA6E4}">
                        <adec:decorative xmlns:adec="http://schemas.microsoft.com/office/drawing/2017/decorative" val="1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10"/>
                    </p:custDataLst>
                  </p:nvPr>
                </p:nvSpPr>
                <p:spPr bwMode="auto">
                  <a:xfrm>
                    <a:off x="1113592" y="3870904"/>
                    <a:ext cx="1000358" cy="568320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wrap="square" anchor="ctr"/>
                  <a:lstStyle>
                    <a:lvl1pPr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1pPr>
                    <a:lvl2pPr marL="742950" indent="-28575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2pPr>
                    <a:lvl3pPr marL="1143000" indent="-22860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3pPr>
                    <a:lvl4pPr marL="1600200" indent="-22860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4pPr>
                    <a:lvl5pPr marL="2057400" indent="-22860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9pPr>
                  </a:lstStyle>
                  <a:p>
                    <a:pPr marL="0" lvl="1" indent="0" algn="ctr" defTabSz="914400" fontAlgn="base">
                      <a:spcBef>
                        <a:spcPts val="1100"/>
                      </a:spcBef>
                      <a:spcAft>
                        <a:spcPct val="0"/>
                      </a:spcAft>
                      <a:buClr>
                        <a:schemeClr val="bg1"/>
                      </a:buClr>
                      <a:buSzPct val="100000"/>
                    </a:pPr>
                    <a:r>
                      <a:rPr lang="en-US" sz="1100" kern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Event management</a:t>
                    </a:r>
                  </a:p>
                </p:txBody>
              </p:sp>
            </p:grpSp>
          </p:grpSp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6102F0FA-10EE-11ED-3F31-D33DC503DE80}"/>
                  </a:ext>
                </a:extLst>
              </p:cNvPr>
              <p:cNvGrpSpPr/>
              <p:nvPr/>
            </p:nvGrpSpPr>
            <p:grpSpPr>
              <a:xfrm>
                <a:off x="1080768" y="1556657"/>
                <a:ext cx="2263793" cy="1590198"/>
                <a:chOff x="1080768" y="1556657"/>
                <a:chExt cx="2263793" cy="1590198"/>
              </a:xfrm>
            </p:grpSpPr>
            <p:sp>
              <p:nvSpPr>
                <p:cNvPr id="23" name="Rectangle 3">
                  <a:extLst>
                    <a:ext uri="{FF2B5EF4-FFF2-40B4-BE49-F238E27FC236}">
                      <a16:creationId xmlns:a16="http://schemas.microsoft.com/office/drawing/2014/main" id="{5FB19BC9-532E-9148-8FA8-32005DB6A0A0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5"/>
                  </p:custDataLst>
                </p:nvPr>
              </p:nvSpPr>
              <p:spPr bwMode="auto">
                <a:xfrm>
                  <a:off x="1080768" y="1556657"/>
                  <a:ext cx="2263793" cy="1590198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 wrap="square" anchor="t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0" lvl="1" indent="0" algn="ctr" defTabSz="914400" fontAlgn="base">
                    <a:spcBef>
                      <a:spcPts val="1100"/>
                    </a:spcBef>
                    <a:spcAft>
                      <a:spcPct val="0"/>
                    </a:spcAft>
                    <a:buClr>
                      <a:schemeClr val="bg1"/>
                    </a:buClr>
                    <a:buSzPct val="100000"/>
                  </a:pPr>
                  <a:br>
                    <a:rPr lang="en-US" sz="10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</a:br>
                  <a:r>
                    <a:rPr lang="en-US" sz="1200" b="1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Dependency</a:t>
                  </a:r>
                  <a:br>
                    <a:rPr lang="en-US" sz="1200" b="1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</a:br>
                  <a:r>
                    <a:rPr lang="en-US" sz="1200" b="1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mapping</a:t>
                  </a:r>
                  <a:endParaRPr lang="en-US" sz="1100" b="1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" name="Group 4">
                  <a:extLst>
                    <a:ext uri="{FF2B5EF4-FFF2-40B4-BE49-F238E27FC236}">
                      <a16:creationId xmlns:a16="http://schemas.microsoft.com/office/drawing/2014/main" id="{41A2742B-9AFF-5F4A-8D3A-8E8726C5E703}"/>
                    </a:ext>
                  </a:extLst>
                </p:cNvPr>
                <p:cNvGrpSpPr/>
                <p:nvPr/>
              </p:nvGrpSpPr>
              <p:grpSpPr>
                <a:xfrm>
                  <a:off x="1176742" y="2333454"/>
                  <a:ext cx="2071844" cy="568320"/>
                  <a:chOff x="2385508" y="1920345"/>
                  <a:chExt cx="2071844" cy="568320"/>
                </a:xfrm>
              </p:grpSpPr>
              <p:sp>
                <p:nvSpPr>
                  <p:cNvPr id="24" name="Rectangle 3">
                    <a:extLst>
                      <a:ext uri="{FF2B5EF4-FFF2-40B4-BE49-F238E27FC236}">
                        <a16:creationId xmlns:a16="http://schemas.microsoft.com/office/drawing/2014/main" id="{E417BF05-2F03-2749-BA56-44BF41D60F82}"/>
                      </a:ext>
                      <a:ext uri="{C183D7F6-B498-43B3-948B-1728B52AA6E4}">
                        <adec:decorative xmlns:adec="http://schemas.microsoft.com/office/drawing/2017/decorative" val="1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6"/>
                    </p:custDataLst>
                  </p:nvPr>
                </p:nvSpPr>
                <p:spPr bwMode="auto">
                  <a:xfrm>
                    <a:off x="3456994" y="1920345"/>
                    <a:ext cx="1000358" cy="568320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wrap="square" anchor="ctr"/>
                  <a:lstStyle>
                    <a:lvl1pPr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1pPr>
                    <a:lvl2pPr marL="742950" indent="-28575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2pPr>
                    <a:lvl3pPr marL="1143000" indent="-22860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3pPr>
                    <a:lvl4pPr marL="1600200" indent="-22860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4pPr>
                    <a:lvl5pPr marL="2057400" indent="-22860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9pPr>
                  </a:lstStyle>
                  <a:p>
                    <a:pPr marL="0" lvl="1" indent="0" algn="ctr" defTabSz="914400" fontAlgn="base">
                      <a:spcBef>
                        <a:spcPts val="1100"/>
                      </a:spcBef>
                      <a:spcAft>
                        <a:spcPct val="0"/>
                      </a:spcAft>
                      <a:buClr>
                        <a:schemeClr val="bg1"/>
                      </a:buClr>
                      <a:buSzPct val="100000"/>
                    </a:pPr>
                    <a:r>
                      <a:rPr lang="en-US" sz="1100" kern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Application perspectives</a:t>
                    </a:r>
                  </a:p>
                </p:txBody>
              </p:sp>
              <p:sp>
                <p:nvSpPr>
                  <p:cNvPr id="25" name="Rectangle 3">
                    <a:extLst>
                      <a:ext uri="{FF2B5EF4-FFF2-40B4-BE49-F238E27FC236}">
                        <a16:creationId xmlns:a16="http://schemas.microsoft.com/office/drawing/2014/main" id="{DED22FEF-22FA-5747-A9D5-E4BCFAF87B4C}"/>
                      </a:ext>
                      <a:ext uri="{C183D7F6-B498-43B3-948B-1728B52AA6E4}">
                        <adec:decorative xmlns:adec="http://schemas.microsoft.com/office/drawing/2017/decorative" val="1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7"/>
                    </p:custDataLst>
                  </p:nvPr>
                </p:nvSpPr>
                <p:spPr bwMode="auto">
                  <a:xfrm>
                    <a:off x="2385508" y="1920345"/>
                    <a:ext cx="1000358" cy="568320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wrap="square" anchor="ctr"/>
                  <a:lstStyle>
                    <a:lvl1pPr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1pPr>
                    <a:lvl2pPr marL="742950" indent="-28575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2pPr>
                    <a:lvl3pPr marL="1143000" indent="-22860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3pPr>
                    <a:lvl4pPr marL="1600200" indent="-22860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4pPr>
                    <a:lvl5pPr marL="2057400" indent="-22860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9pPr>
                  </a:lstStyle>
                  <a:p>
                    <a:pPr marL="0" lvl="1" indent="0" algn="ctr" defTabSz="914400" fontAlgn="base">
                      <a:spcBef>
                        <a:spcPts val="1100"/>
                      </a:spcBef>
                      <a:spcAft>
                        <a:spcPct val="0"/>
                      </a:spcAft>
                      <a:buClr>
                        <a:schemeClr val="bg1"/>
                      </a:buClr>
                      <a:buSzPct val="100000"/>
                    </a:pPr>
                    <a:r>
                      <a:rPr lang="en-US" sz="1100" kern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Dynamic graphing</a:t>
                    </a:r>
                  </a:p>
                </p:txBody>
              </p:sp>
            </p:grpSp>
          </p:grpSp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9DCDE599-EC39-9FF4-47E2-72537E57BECC}"/>
                  </a:ext>
                </a:extLst>
              </p:cNvPr>
              <p:cNvGrpSpPr/>
              <p:nvPr/>
            </p:nvGrpSpPr>
            <p:grpSpPr>
              <a:xfrm>
                <a:off x="5914391" y="1556656"/>
                <a:ext cx="2267712" cy="1589978"/>
                <a:chOff x="5914391" y="1556656"/>
                <a:chExt cx="2267712" cy="1589978"/>
              </a:xfrm>
            </p:grpSpPr>
            <p:sp>
              <p:nvSpPr>
                <p:cNvPr id="37" name="Rectangle 3">
                  <a:extLst>
                    <a:ext uri="{FF2B5EF4-FFF2-40B4-BE49-F238E27FC236}">
                      <a16:creationId xmlns:a16="http://schemas.microsoft.com/office/drawing/2014/main" id="{EFF1B789-DED8-2B4A-8926-B80605D2A396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2"/>
                  </p:custDataLst>
                </p:nvPr>
              </p:nvSpPr>
              <p:spPr bwMode="auto">
                <a:xfrm>
                  <a:off x="5914391" y="1556656"/>
                  <a:ext cx="2267712" cy="1589978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txBody>
                <a:bodyPr wrap="square" anchor="t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0" lvl="1" indent="0" algn="ctr" defTabSz="914400" fontAlgn="base">
                    <a:spcBef>
                      <a:spcPts val="1100"/>
                    </a:spcBef>
                    <a:spcAft>
                      <a:spcPct val="0"/>
                    </a:spcAft>
                    <a:buClr>
                      <a:schemeClr val="bg1"/>
                    </a:buClr>
                    <a:buSzPct val="100000"/>
                  </a:pPr>
                  <a:br>
                    <a:rPr lang="en-US" sz="10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</a:br>
                  <a:r>
                    <a:rPr lang="en-US" sz="1200" b="1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Full stack</a:t>
                  </a:r>
                  <a:br>
                    <a:rPr lang="en-US" sz="1200" b="1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</a:br>
                  <a:r>
                    <a:rPr lang="en-US" sz="1200" b="1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tracing</a:t>
                  </a:r>
                  <a:endParaRPr lang="en-US" sz="1100" b="1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8" name="Group 37">
                  <a:extLst>
                    <a:ext uri="{FF2B5EF4-FFF2-40B4-BE49-F238E27FC236}">
                      <a16:creationId xmlns:a16="http://schemas.microsoft.com/office/drawing/2014/main" id="{CCD31AB0-E54D-4F4A-8868-524082CFFCF1}"/>
                    </a:ext>
                  </a:extLst>
                </p:cNvPr>
                <p:cNvGrpSpPr/>
                <p:nvPr/>
              </p:nvGrpSpPr>
              <p:grpSpPr>
                <a:xfrm>
                  <a:off x="6012325" y="2333454"/>
                  <a:ext cx="2071844" cy="568320"/>
                  <a:chOff x="1113592" y="3870904"/>
                  <a:chExt cx="2071844" cy="568320"/>
                </a:xfrm>
              </p:grpSpPr>
              <p:sp>
                <p:nvSpPr>
                  <p:cNvPr id="39" name="Rectangle 3">
                    <a:extLst>
                      <a:ext uri="{FF2B5EF4-FFF2-40B4-BE49-F238E27FC236}">
                        <a16:creationId xmlns:a16="http://schemas.microsoft.com/office/drawing/2014/main" id="{8B7D1E53-15F6-4340-91D2-49F42903FD55}"/>
                      </a:ext>
                      <a:ext uri="{C183D7F6-B498-43B3-948B-1728B52AA6E4}">
                        <adec:decorative xmlns:adec="http://schemas.microsoft.com/office/drawing/2017/decorative" val="1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3"/>
                    </p:custDataLst>
                  </p:nvPr>
                </p:nvSpPr>
                <p:spPr bwMode="auto">
                  <a:xfrm>
                    <a:off x="2185078" y="3870904"/>
                    <a:ext cx="1000358" cy="568320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wrap="square" anchor="ctr"/>
                  <a:lstStyle>
                    <a:lvl1pPr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1pPr>
                    <a:lvl2pPr marL="742950" indent="-28575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2pPr>
                    <a:lvl3pPr marL="1143000" indent="-22860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3pPr>
                    <a:lvl4pPr marL="1600200" indent="-22860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4pPr>
                    <a:lvl5pPr marL="2057400" indent="-22860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9pPr>
                  </a:lstStyle>
                  <a:p>
                    <a:pPr marL="0" lvl="1" indent="0" algn="ctr" defTabSz="914400" fontAlgn="base">
                      <a:spcBef>
                        <a:spcPts val="1100"/>
                      </a:spcBef>
                      <a:spcAft>
                        <a:spcPct val="0"/>
                      </a:spcAft>
                      <a:buClr>
                        <a:schemeClr val="bg1"/>
                      </a:buClr>
                      <a:buSzPct val="100000"/>
                    </a:pPr>
                    <a:r>
                      <a:rPr lang="en-US" sz="1100" kern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Trace analytics</a:t>
                    </a:r>
                  </a:p>
                </p:txBody>
              </p:sp>
              <p:sp>
                <p:nvSpPr>
                  <p:cNvPr id="40" name="Rectangle 3">
                    <a:extLst>
                      <a:ext uri="{FF2B5EF4-FFF2-40B4-BE49-F238E27FC236}">
                        <a16:creationId xmlns:a16="http://schemas.microsoft.com/office/drawing/2014/main" id="{FF3B8B9B-D34C-A747-BBDF-DF245EF2A2DC}"/>
                      </a:ext>
                      <a:ext uri="{C183D7F6-B498-43B3-948B-1728B52AA6E4}">
                        <adec:decorative xmlns:adec="http://schemas.microsoft.com/office/drawing/2017/decorative" val="1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4"/>
                    </p:custDataLst>
                  </p:nvPr>
                </p:nvSpPr>
                <p:spPr bwMode="auto">
                  <a:xfrm>
                    <a:off x="1113592" y="3870904"/>
                    <a:ext cx="1000358" cy="568320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wrap="square" anchor="ctr"/>
                  <a:lstStyle>
                    <a:lvl1pPr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1pPr>
                    <a:lvl2pPr marL="742950" indent="-28575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2pPr>
                    <a:lvl3pPr marL="1143000" indent="-22860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3pPr>
                    <a:lvl4pPr marL="1600200" indent="-22860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4pPr>
                    <a:lvl5pPr marL="2057400" indent="-228600"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>
                        <a:solidFill>
                          <a:schemeClr val="tx1"/>
                        </a:solidFill>
                        <a:latin typeface="Arial" charset="0"/>
                        <a:ea typeface="ＭＳ Ｐゴシック" charset="-128"/>
                      </a:defRPr>
                    </a:lvl9pPr>
                  </a:lstStyle>
                  <a:p>
                    <a:pPr marL="0" lvl="1" indent="0" algn="ctr" defTabSz="914400" fontAlgn="base">
                      <a:spcBef>
                        <a:spcPts val="1100"/>
                      </a:spcBef>
                      <a:spcAft>
                        <a:spcPct val="0"/>
                      </a:spcAft>
                      <a:buClr>
                        <a:schemeClr val="bg1"/>
                      </a:buClr>
                      <a:buSzPct val="100000"/>
                    </a:pPr>
                    <a:r>
                      <a:rPr lang="en-US" sz="1100" kern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Trace call visualization</a:t>
                    </a:r>
                  </a:p>
                </p:txBody>
              </p:sp>
            </p:grpSp>
          </p:grpSp>
        </p:grpSp>
      </p:grpSp>
    </p:spTree>
    <p:extLst>
      <p:ext uri="{BB962C8B-B14F-4D97-AF65-F5344CB8AC3E}">
        <p14:creationId xmlns:p14="http://schemas.microsoft.com/office/powerpoint/2010/main" val="7581334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blur&#10;&#10;Description automatically generated">
            <a:extLst>
              <a:ext uri="{FF2B5EF4-FFF2-40B4-BE49-F238E27FC236}">
                <a16:creationId xmlns:a16="http://schemas.microsoft.com/office/drawing/2014/main" id="{9248A943-7586-A342-8A23-BA5EFE9C058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7" name="Picture 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609E39F-C2F6-3441-964F-08C396BB657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5FC501F7-74BE-3A08-8900-6F93FF2ED203}"/>
              </a:ext>
            </a:extLst>
          </p:cNvPr>
          <p:cNvSpPr txBox="1">
            <a:spLocks/>
          </p:cNvSpPr>
          <p:nvPr/>
        </p:nvSpPr>
        <p:spPr>
          <a:xfrm>
            <a:off x="2" y="1112775"/>
            <a:ext cx="9143998" cy="1458975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spcAft>
                <a:spcPts val="1800"/>
              </a:spcAft>
            </a:pPr>
            <a:r>
              <a:rPr lang="en-US" sz="35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</a:t>
            </a:r>
          </a:p>
          <a:p>
            <a:pPr algn="ctr">
              <a:spcBef>
                <a:spcPts val="600"/>
              </a:spcBef>
              <a:spcAft>
                <a:spcPts val="1800"/>
              </a:spcAft>
            </a:pPr>
            <a:r>
              <a:rPr lang="en-US" sz="35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servability</a:t>
            </a:r>
            <a:endParaRPr lang="en-US" sz="3200" b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46239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A picture containing blur&#10;&#10;Description automatically generated">
            <a:extLst>
              <a:ext uri="{FF2B5EF4-FFF2-40B4-BE49-F238E27FC236}">
                <a16:creationId xmlns:a16="http://schemas.microsoft.com/office/drawing/2014/main" id="{E6701448-E8AD-F30E-8CF0-761E6D1B4B67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27" name="Picture 2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B1502845-0225-3387-E8BD-DA12F57953F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8667D6D-B90D-EAC9-6B98-A8947C61BA59}"/>
              </a:ext>
            </a:extLst>
          </p:cNvPr>
          <p:cNvSpPr/>
          <p:nvPr/>
        </p:nvSpPr>
        <p:spPr bwMode="auto">
          <a:xfrm>
            <a:off x="329581" y="990510"/>
            <a:ext cx="8484839" cy="3790784"/>
          </a:xfrm>
          <a:prstGeom prst="rect">
            <a:avLst/>
          </a:prstGeom>
          <a:solidFill>
            <a:schemeClr val="tx1">
              <a:alpha val="5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33" name="Title">
            <a:extLst>
              <a:ext uri="{FF2B5EF4-FFF2-40B4-BE49-F238E27FC236}">
                <a16:creationId xmlns:a16="http://schemas.microsoft.com/office/drawing/2014/main" id="{83962735-38FC-B4FB-04B2-BAEFFA01C6F0}"/>
              </a:ext>
            </a:extLst>
          </p:cNvPr>
          <p:cNvSpPr txBox="1">
            <a:spLocks/>
          </p:cNvSpPr>
          <p:nvPr/>
        </p:nvSpPr>
        <p:spPr>
          <a:xfrm>
            <a:off x="210311" y="201168"/>
            <a:ext cx="6210586" cy="713232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defTabSz="914400"/>
            <a:r>
              <a:rPr lang="en-US" sz="28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takeaways</a:t>
            </a:r>
            <a:endParaRPr lang="en-US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i="1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bservability demo</a:t>
            </a:r>
          </a:p>
          <a:p>
            <a:pPr defTabSz="914400"/>
            <a:endParaRPr lang="en-US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/>
            <a:b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6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E574657-3E5C-E55D-8AC2-D31DBF69AD33}"/>
              </a:ext>
            </a:extLst>
          </p:cNvPr>
          <p:cNvSpPr/>
          <p:nvPr/>
        </p:nvSpPr>
        <p:spPr>
          <a:xfrm>
            <a:off x="329580" y="1095965"/>
            <a:ext cx="7002873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274320">
              <a:lnSpc>
                <a:spcPct val="90000"/>
              </a:lnSpc>
              <a:spcAft>
                <a:spcPts val="6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servability</a:t>
            </a:r>
            <a:r>
              <a:rPr lang="en-US" sz="1500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</a:p>
          <a:p>
            <a:pPr marL="800100" lvl="1" indent="-227013">
              <a:lnSpc>
                <a:spcPct val="90000"/>
              </a:lnSpc>
              <a:spcAft>
                <a:spcPts val="3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lps quickly identify and debug problems in complex applications</a:t>
            </a:r>
          </a:p>
          <a:p>
            <a:pPr marL="800100" lvl="1" indent="-227013">
              <a:lnSpc>
                <a:spcPct val="90000"/>
              </a:lnSpc>
              <a:spcAft>
                <a:spcPts val="3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imizes manual work</a:t>
            </a:r>
          </a:p>
          <a:p>
            <a:pPr marL="800100" lvl="1" indent="-227013">
              <a:lnSpc>
                <a:spcPct val="90000"/>
              </a:lnSpc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uces recovery time to return applications to a normal state</a:t>
            </a:r>
          </a:p>
          <a:p>
            <a:pPr marL="342900" indent="-274320">
              <a:lnSpc>
                <a:spcPct val="90000"/>
              </a:lnSpc>
              <a:spcBef>
                <a:spcPts val="1200"/>
              </a:spcBef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endency mapping </a:t>
            </a: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matically groups related events and issues, making it easier to understand dependencies throughout the stack.</a:t>
            </a:r>
          </a:p>
          <a:p>
            <a:pPr marL="342900" indent="-274320">
              <a:lnSpc>
                <a:spcPct val="90000"/>
              </a:lnSpc>
              <a:spcBef>
                <a:spcPts val="1200"/>
              </a:spcBef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lligent alerting</a:t>
            </a: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ovides alerts to user-impacting, critical incidents without having to set thresholds.</a:t>
            </a:r>
          </a:p>
          <a:p>
            <a:pPr marL="342900" indent="-274320">
              <a:lnSpc>
                <a:spcPct val="90000"/>
              </a:lnSpc>
              <a:spcBef>
                <a:spcPts val="1200"/>
              </a:spcBef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ributed tracing </a:t>
            </a: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sures every request is traced without sampling to quickly pinpoint the root cause.</a:t>
            </a:r>
          </a:p>
        </p:txBody>
      </p:sp>
    </p:spTree>
    <p:extLst>
      <p:ext uri="{BB962C8B-B14F-4D97-AF65-F5344CB8AC3E}">
        <p14:creationId xmlns:p14="http://schemas.microsoft.com/office/powerpoint/2010/main" val="16139785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blur&#10;&#10;Description automatically generated">
            <a:extLst>
              <a:ext uri="{FF2B5EF4-FFF2-40B4-BE49-F238E27FC236}">
                <a16:creationId xmlns:a16="http://schemas.microsoft.com/office/drawing/2014/main" id="{9248A943-7586-A342-8A23-BA5EFE9C058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7" name="Picture 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609E39F-C2F6-3441-964F-08C396BB657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D71AE79E-88B6-4B49-8950-048F1C068E5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1214" r="21215"/>
          <a:stretch/>
        </p:blipFill>
        <p:spPr>
          <a:xfrm>
            <a:off x="3897549" y="1793421"/>
            <a:ext cx="1348902" cy="1559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2766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blur&#10;&#10;Description automatically generated">
            <a:extLst>
              <a:ext uri="{FF2B5EF4-FFF2-40B4-BE49-F238E27FC236}">
                <a16:creationId xmlns:a16="http://schemas.microsoft.com/office/drawing/2014/main" id="{DCF67E52-2CAE-A594-C8AB-3E447277DE97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8" name="Picture 7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A221E832-DC17-1375-7319-A094AF8D4CAA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3C6CA3C-B257-FA45-BDDC-DD0682655A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5729571" cy="804672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al learning resourc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856A7D-53F2-214F-871C-1EB579B9B7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8666" y="911259"/>
            <a:ext cx="8695877" cy="3320982"/>
          </a:xfrm>
        </p:spPr>
        <p:txBody>
          <a:bodyPr/>
          <a:lstStyle/>
          <a:p>
            <a:pPr lvl="1" defTabSz="914400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etting started with </a:t>
            </a:r>
            <a:r>
              <a:rPr lang="en-US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stana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defTabSz="914400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tting up and managing Instana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defTabSz="914400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onitoring applications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0293D5-E65B-FF41-B517-6F3F285C22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685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3142574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heme/theme1.xml><?xml version="1.0" encoding="utf-8"?>
<a:theme xmlns:a="http://schemas.openxmlformats.org/drawingml/2006/main" name="IBM Brand Template 2022">
  <a:themeElements>
    <a:clrScheme name="IBM brand presentation palette 2022">
      <a:dk1>
        <a:srgbClr val="FFFFFF"/>
      </a:dk1>
      <a:lt1>
        <a:srgbClr val="000000"/>
      </a:lt1>
      <a:dk2>
        <a:srgbClr val="E5F6FF"/>
      </a:dk2>
      <a:lt2>
        <a:srgbClr val="F4F4F4"/>
      </a:lt2>
      <a:accent1>
        <a:srgbClr val="002D9C"/>
      </a:accent1>
      <a:accent2>
        <a:srgbClr val="0F62FE"/>
      </a:accent2>
      <a:accent3>
        <a:srgbClr val="82CFFF"/>
      </a:accent3>
      <a:accent4>
        <a:srgbClr val="9EF0F0"/>
      </a:accent4>
      <a:accent5>
        <a:srgbClr val="E0E0E0"/>
      </a:accent5>
      <a:accent6>
        <a:srgbClr val="FCF4D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System Font Regular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91440" tIns="91440" rIns="91440" bIns="91440" rtlCol="0">
        <a:spAutoFit/>
      </a:bodyPr>
      <a:lstStyle>
        <a:defPPr marL="173736" indent="-173736" algn="l">
          <a:spcBef>
            <a:spcPts val="1100"/>
          </a:spcBef>
          <a:buFont typeface="System Font Regular"/>
          <a:buChar char="–"/>
          <a:defRPr sz="1400" dirty="0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50">
      <a:srgbClr val="FA4D56"/>
    </a:custClr>
    <a:custClr name="Red 40">
      <a:srgbClr val="FF8389"/>
    </a:custClr>
    <a:custClr name="Red 30">
      <a:srgbClr val="FFB3B8"/>
    </a:custClr>
    <a:custClr name="Red 20">
      <a:srgbClr val="FFD7D9"/>
    </a:custClr>
    <a:custClr name="Red 10">
      <a:srgbClr val="FFF1F1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20">
      <a:srgbClr val="FDDC69"/>
    </a:custClr>
    <a:custClr name="Yellow 10">
      <a:srgbClr val="FCF4D6"/>
    </a:custClr>
    <a:custClr name="Teal 50">
      <a:srgbClr val="009D9A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</a:custClrLst>
  <a:extLst>
    <a:ext uri="{05A4C25C-085E-4340-85A3-A5531E510DB2}">
      <thm15:themeFamily xmlns:thm15="http://schemas.microsoft.com/office/thememl/2012/main" name="IBM_Presentation_Template_2022_V01_Plex_Embed" id="{02D7F33A-96F9-3142-BE93-E46CEC147C3D}" vid="{B93A71AE-C97A-F24E-BECE-31FFF7CA650A}"/>
    </a:ext>
  </a:extLst>
</a:theme>
</file>

<file path=ppt/theme/theme2.xml><?xml version="1.0" encoding="utf-8"?>
<a:theme xmlns:a="http://schemas.openxmlformats.org/drawingml/2006/main" name="IBM BxD 2018 black background">
  <a:themeElements>
    <a:clrScheme name="Custom 3">
      <a:dk1>
        <a:srgbClr val="FFFFFF"/>
      </a:dk1>
      <a:lt1>
        <a:srgbClr val="000000"/>
      </a:lt1>
      <a:dk2>
        <a:srgbClr val="525252"/>
      </a:dk2>
      <a:lt2>
        <a:srgbClr val="F4F4F4"/>
      </a:lt2>
      <a:accent1>
        <a:srgbClr val="0F62FE"/>
      </a:accent1>
      <a:accent2>
        <a:srgbClr val="002D9C"/>
      </a:accent2>
      <a:accent3>
        <a:srgbClr val="D02670"/>
      </a:accent3>
      <a:accent4>
        <a:srgbClr val="8A3FFC"/>
      </a:accent4>
      <a:accent5>
        <a:srgbClr val="007D79"/>
      </a:accent5>
      <a:accent6>
        <a:srgbClr val="697077"/>
      </a:accent6>
      <a:hlink>
        <a:srgbClr val="4589FF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rgbClr val="191919"/>
            </a:solidFill>
            <a:effectLst/>
            <a:latin typeface="IBM Plex Sans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8"/>
    </a:custClr>
    <a:custClr name="Magenta 90">
      <a:srgbClr val="510224"/>
    </a:custClr>
    <a:custClr name="Magenta 80">
      <a:srgbClr val="740937"/>
    </a:custClr>
    <a:custClr name="Magenta 70">
      <a:srgbClr val="9F1853"/>
    </a:custClr>
    <a:custClr name="Magenta 60">
      <a:srgbClr val="D12771"/>
    </a:custClr>
    <a:custClr name="Magenta 50">
      <a:srgbClr val="EE5396"/>
    </a:custClr>
    <a:custClr name="Magenta 40">
      <a:srgbClr val="FF7EB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100">
      <a:srgbClr val="1C0F30"/>
    </a:custClr>
    <a:custClr name="Purple 90">
      <a:srgbClr val="31135E"/>
    </a:custClr>
    <a:custClr name="Purple 80">
      <a:srgbClr val="491D8B"/>
    </a:custClr>
    <a:custClr name="Purple 70">
      <a:srgbClr val="6929C4"/>
    </a:custClr>
    <a:custClr name="Purple 60">
      <a:srgbClr val="8A3FFC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Blue 50">
      <a:srgbClr val="4589FF"/>
    </a:custClr>
    <a:custClr name="Blue 40">
      <a:srgbClr val="78A9FF"/>
    </a:custClr>
    <a:custClr name="Blue 30">
      <a:srgbClr val="A6C8FF"/>
    </a:custClr>
    <a:custClr name="Blue 20">
      <a:srgbClr val="D0E2FF"/>
    </a:custClr>
    <a:custClr name="Blue 10">
      <a:srgbClr val="EDF5FF"/>
    </a:custClr>
    <a:custClr name="Teal 100">
      <a:srgbClr val="081A1C"/>
    </a:custClr>
    <a:custClr name="Teal 90">
      <a:srgbClr val="022B30"/>
    </a:custClr>
    <a:custClr name="Teal 80">
      <a:srgbClr val="004548"/>
    </a:custClr>
    <a:custClr name="Teal 70">
      <a:srgbClr val="005D5D"/>
    </a:custClr>
    <a:custClr name="Teal 60">
      <a:srgbClr val="007D79"/>
    </a:custClr>
    <a:custClr name="Teal 50">
      <a:srgbClr val="009C98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</a:custClrLst>
  <a:extLst>
    <a:ext uri="{05A4C25C-085E-4340-85A3-A5531E510DB2}">
      <thm15:themeFamily xmlns:thm15="http://schemas.microsoft.com/office/thememl/2012/main" name="IBM_Master_Presentation_1124_V01_Plex.pptx" id="{80B8559C-7CF0-5B40-975D-B007EC7BCB16}" vid="{15B3B518-7CF1-234E-B76B-F16347DE476D}"/>
    </a:ext>
  </a:extLst>
</a:theme>
</file>

<file path=ppt/theme/theme3.xml><?xml version="1.0" encoding="utf-8"?>
<a:theme xmlns:a="http://schemas.openxmlformats.org/drawingml/2006/main" name="IBM BxD 2018 black background">
  <a:themeElements>
    <a:clrScheme name="Custom 3">
      <a:dk1>
        <a:srgbClr val="FFFFFF"/>
      </a:dk1>
      <a:lt1>
        <a:srgbClr val="000000"/>
      </a:lt1>
      <a:dk2>
        <a:srgbClr val="525252"/>
      </a:dk2>
      <a:lt2>
        <a:srgbClr val="F4F4F4"/>
      </a:lt2>
      <a:accent1>
        <a:srgbClr val="0F62FE"/>
      </a:accent1>
      <a:accent2>
        <a:srgbClr val="002D9C"/>
      </a:accent2>
      <a:accent3>
        <a:srgbClr val="D02670"/>
      </a:accent3>
      <a:accent4>
        <a:srgbClr val="8A3FFC"/>
      </a:accent4>
      <a:accent5>
        <a:srgbClr val="007D79"/>
      </a:accent5>
      <a:accent6>
        <a:srgbClr val="697077"/>
      </a:accent6>
      <a:hlink>
        <a:srgbClr val="4589FF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rgbClr val="191919"/>
            </a:solidFill>
            <a:effectLst/>
            <a:latin typeface="IBM Plex Sans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8"/>
    </a:custClr>
    <a:custClr name="Magenta 90">
      <a:srgbClr val="510224"/>
    </a:custClr>
    <a:custClr name="Magenta 80">
      <a:srgbClr val="740937"/>
    </a:custClr>
    <a:custClr name="Magenta 70">
      <a:srgbClr val="9F1853"/>
    </a:custClr>
    <a:custClr name="Magenta 60">
      <a:srgbClr val="D12771"/>
    </a:custClr>
    <a:custClr name="Magenta 50">
      <a:srgbClr val="EE5396"/>
    </a:custClr>
    <a:custClr name="Magenta 40">
      <a:srgbClr val="FF7EB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100">
      <a:srgbClr val="1C0F30"/>
    </a:custClr>
    <a:custClr name="Purple 90">
      <a:srgbClr val="31135E"/>
    </a:custClr>
    <a:custClr name="Purple 80">
      <a:srgbClr val="491D8B"/>
    </a:custClr>
    <a:custClr name="Purple 70">
      <a:srgbClr val="6929C4"/>
    </a:custClr>
    <a:custClr name="Purple 60">
      <a:srgbClr val="8A3FFC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Blue 50">
      <a:srgbClr val="4589FF"/>
    </a:custClr>
    <a:custClr name="Blue 40">
      <a:srgbClr val="78A9FF"/>
    </a:custClr>
    <a:custClr name="Blue 30">
      <a:srgbClr val="A6C8FF"/>
    </a:custClr>
    <a:custClr name="Blue 20">
      <a:srgbClr val="D0E2FF"/>
    </a:custClr>
    <a:custClr name="Blue 10">
      <a:srgbClr val="EDF5FF"/>
    </a:custClr>
    <a:custClr name="Teal 100">
      <a:srgbClr val="081A1C"/>
    </a:custClr>
    <a:custClr name="Teal 90">
      <a:srgbClr val="022B30"/>
    </a:custClr>
    <a:custClr name="Teal 80">
      <a:srgbClr val="004548"/>
    </a:custClr>
    <a:custClr name="Teal 70">
      <a:srgbClr val="005D5D"/>
    </a:custClr>
    <a:custClr name="Teal 60">
      <a:srgbClr val="007D79"/>
    </a:custClr>
    <a:custClr name="Teal 50">
      <a:srgbClr val="009C98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</a:custClrLst>
  <a:extLst>
    <a:ext uri="{05A4C25C-085E-4340-85A3-A5531E510DB2}">
      <thm15:themeFamily xmlns:thm15="http://schemas.microsoft.com/office/thememl/2012/main" name="IBM_Master_Presentation_1124_V01_Plex.pptx" id="{80B8559C-7CF0-5B40-975D-B007EC7BCB16}" vid="{15B3B518-7CF1-234E-B76B-F16347DE476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BM Brand Template 2022</Template>
  <TotalTime>34322</TotalTime>
  <Words>525</Words>
  <Application>Microsoft Macintosh PowerPoint</Application>
  <PresentationFormat>On-screen Show (16:9)</PresentationFormat>
  <Paragraphs>102</Paragraphs>
  <Slides>9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IBM Plex Sans Light</vt:lpstr>
      <vt:lpstr>System Font Regular</vt:lpstr>
      <vt:lpstr>IBM Plex Sans</vt:lpstr>
      <vt:lpstr>Calibri</vt:lpstr>
      <vt:lpstr>Arial</vt:lpstr>
      <vt:lpstr>IBM Brand Template 2022</vt:lpstr>
      <vt:lpstr>PowerPoint Presentation</vt:lpstr>
      <vt:lpstr>Demo overview</vt:lpstr>
      <vt:lpstr>Demo overview</vt:lpstr>
      <vt:lpstr>Demo flow</vt:lpstr>
      <vt:lpstr>Demo components </vt:lpstr>
      <vt:lpstr>PowerPoint Presentation</vt:lpstr>
      <vt:lpstr>PowerPoint Presentation</vt:lpstr>
      <vt:lpstr>PowerPoint Presentation</vt:lpstr>
      <vt:lpstr>Additional learning resour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come to the  IBM Presentation Template — IBM Plex® variant</dc:title>
  <dc:creator>Dennis Woo</dc:creator>
  <cp:lastModifiedBy>Dennis Woo</cp:lastModifiedBy>
  <cp:revision>70</cp:revision>
  <cp:lastPrinted>2019-04-25T15:14:05Z</cp:lastPrinted>
  <dcterms:created xsi:type="dcterms:W3CDTF">2022-03-29T18:01:34Z</dcterms:created>
  <dcterms:modified xsi:type="dcterms:W3CDTF">2022-06-24T20:54:07Z</dcterms:modified>
</cp:coreProperties>
</file>